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768" r:id="rId5"/>
    <p:sldMasterId id="2147483782" r:id="rId6"/>
  </p:sldMasterIdLst>
  <p:notesMasterIdLst>
    <p:notesMasterId r:id="rId8"/>
  </p:notesMasterIdLst>
  <p:handoutMasterIdLst>
    <p:handoutMasterId r:id="rId9"/>
  </p:handoutMasterIdLst>
  <p:sldIdLst>
    <p:sldId id="464" r:id="rId7"/>
  </p:sldIdLst>
  <p:sldSz cx="9144000" cy="5143500" type="screen16x9"/>
  <p:notesSz cx="7023100" cy="9309100"/>
  <p:embeddedFontLst>
    <p:embeddedFont>
      <p:font typeface="MS PGothic" panose="020B0600070205080204" pitchFamily="34" charset="-128"/>
      <p:regular r:id="rId10"/>
    </p:embeddedFont>
    <p:embeddedFont>
      <p:font typeface="MS PGothic" panose="020B0600070205080204" pitchFamily="34" charset="-128"/>
      <p:regular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</p:embeddedFont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9">
          <p15:clr>
            <a:srgbClr val="A4A3A4"/>
          </p15:clr>
        </p15:guide>
        <p15:guide id="2" pos="4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932">
          <p15:clr>
            <a:srgbClr val="A4A3A4"/>
          </p15:clr>
        </p15:guide>
        <p15:guide id="4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stafa Cem Unver" initials="MCU" lastIdx="1" clrIdx="0"/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238D"/>
    <a:srgbClr val="FFAF8B"/>
    <a:srgbClr val="FFA279"/>
    <a:srgbClr val="FF7F45"/>
    <a:srgbClr val="1C7DDB"/>
    <a:srgbClr val="34AA34"/>
    <a:srgbClr val="FF7800"/>
    <a:srgbClr val="FED100"/>
    <a:srgbClr val="000000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44" autoAdjust="0"/>
    <p:restoredTop sz="81157" autoAdjust="0"/>
  </p:normalViewPr>
  <p:slideViewPr>
    <p:cSldViewPr showGuides="1">
      <p:cViewPr>
        <p:scale>
          <a:sx n="125" d="100"/>
          <a:sy n="125" d="100"/>
        </p:scale>
        <p:origin x="1326" y="-108"/>
      </p:cViewPr>
      <p:guideLst>
        <p:guide orient="horz" pos="409"/>
        <p:guide pos="4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23952"/>
    </p:cViewPr>
  </p:sorterViewPr>
  <p:notesViewPr>
    <p:cSldViewPr showGuides="1">
      <p:cViewPr varScale="1">
        <p:scale>
          <a:sx n="63" d="100"/>
          <a:sy n="63" d="100"/>
        </p:scale>
        <p:origin x="-2502" y="-102"/>
      </p:cViewPr>
      <p:guideLst>
        <p:guide orient="horz" pos="2160"/>
        <p:guide pos="2880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font" Target="fonts/font3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font" Target="fonts/font2.fntdata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font" Target="fonts/font1.fntdata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FCD8DF2-53D4-4BF6-8978-143C17340C4B}" type="datetimeFigureOut">
              <a:rPr lang="en-US"/>
              <a:pPr/>
              <a:t>7/1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2329EE4-9E7B-4DC4-A0B9-464292B8027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1673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8AA24D4-C142-4AD4-AFCF-F7BB80872E9B}" type="datetimeFigureOut">
              <a:rPr lang="en-US"/>
              <a:pPr/>
              <a:t>7/1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nl-NL" noProof="0"/>
              <a:t>Click to edit Master text styles</a:t>
            </a:r>
          </a:p>
          <a:p>
            <a:pPr lvl="1"/>
            <a:r>
              <a:rPr lang="nl-NL" noProof="0"/>
              <a:t>Second level</a:t>
            </a:r>
          </a:p>
          <a:p>
            <a:pPr lvl="2"/>
            <a:r>
              <a:rPr lang="nl-NL" noProof="0"/>
              <a:t>Third level</a:t>
            </a:r>
          </a:p>
          <a:p>
            <a:pPr lvl="3"/>
            <a:r>
              <a:rPr lang="nl-NL" noProof="0"/>
              <a:t>Fourth level</a:t>
            </a:r>
          </a:p>
          <a:p>
            <a:pPr lvl="4"/>
            <a:r>
              <a:rPr lang="nl-NL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6975FB5-9214-4EFA-B591-A6F1A7368D3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67464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Diagram explanation: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- it is just a model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- good points: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what you specify you need to verify/test later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you have decomposition according product breakdown top-down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integration follows product breakdown bottom-up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- weak points: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  - there are many iterations, and things run concurrent during decomposition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You use it as far as it can help you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EDS = design specification. Specification = formal definition. Your design = their requirement, requirement for lower level of product breakdown.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EPS = WHAT, EDS = HOW. If you need to delegate specify the what, and try to keep away from the how. It pulls on the creativity / expertise of the other.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Example: </a:t>
            </a:r>
            <a:r>
              <a:rPr lang="en-GB" dirty="0" err="1">
                <a:latin typeface="Arial" charset="0"/>
                <a:ea typeface="ＭＳ Ｐゴシック" charset="0"/>
                <a:cs typeface="ＭＳ Ｐゴシック" charset="0"/>
              </a:rPr>
              <a:t>schilderswinkel</a:t>
            </a: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, if you want advice you can ask “I have to paint a wall and what do I need to get this done ?   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ts val="243"/>
              </a:spcBef>
            </a:pP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The valley of the V -&gt; after some ‘tours of duty’ you can oversee the complete development V at the start. Not only comfortably rolling down, but you have to climb up.</a:t>
            </a:r>
            <a:br>
              <a:rPr lang="en-GB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GB" dirty="0">
                <a:latin typeface="Arial" charset="0"/>
                <a:ea typeface="ＭＳ Ｐゴシック" charset="0"/>
                <a:cs typeface="ＭＳ Ｐゴシック" charset="0"/>
              </a:rPr>
              <a:t>So: can I get this manufactured, tested, integrated into module, into proto, operated at customer is part of the total development 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defTabSz="466618">
              <a:spcBef>
                <a:spcPts val="243"/>
              </a:spcBef>
              <a:defRPr/>
            </a:pPr>
            <a:r>
              <a:rPr lang="en-US" dirty="0"/>
              <a:t>added </a:t>
            </a:r>
            <a:r>
              <a:rPr lang="en-US" dirty="0" err="1"/>
              <a:t>wk</a:t>
            </a:r>
            <a:r>
              <a:rPr lang="en-US" dirty="0"/>
              <a:t> 1339, session 25</a:t>
            </a:r>
          </a:p>
          <a:p>
            <a:pPr>
              <a:spcBef>
                <a:spcPts val="243"/>
              </a:spcBef>
            </a:pPr>
            <a:endParaRPr lang="en-GB" dirty="0">
              <a:latin typeface="Arial" charset="0"/>
              <a:ea typeface="ＭＳ Ｐゴシック" charset="0"/>
              <a:cs typeface="ＭＳ Ｐゴシック" charset="0"/>
            </a:endParaRPr>
          </a:p>
          <a:p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75FB5-9214-4EFA-B591-A6F1A7368D3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873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Cover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7" descr="bg_dark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Afbeelding 7" descr="powerpoint_pres1920_0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200400" y="2905497"/>
            <a:ext cx="5306510" cy="25702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5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Name of the presenter 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3195874"/>
            <a:ext cx="5306510" cy="269678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 /  plac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2228442"/>
            <a:ext cx="5306510" cy="2774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of this presentation</a:t>
            </a:r>
          </a:p>
        </p:txBody>
      </p:sp>
      <p:sp>
        <p:nvSpPr>
          <p:cNvPr id="28" name="Freeform 27"/>
          <p:cNvSpPr/>
          <p:nvPr userDrawn="1"/>
        </p:nvSpPr>
        <p:spPr>
          <a:xfrm>
            <a:off x="6834277" y="1361500"/>
            <a:ext cx="417231" cy="446740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29" name="Freeform 28"/>
          <p:cNvSpPr/>
          <p:nvPr userDrawn="1"/>
        </p:nvSpPr>
        <p:spPr>
          <a:xfrm>
            <a:off x="7648693" y="1361015"/>
            <a:ext cx="508209" cy="446742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0" name="Freeform 29"/>
          <p:cNvSpPr/>
          <p:nvPr userDrawn="1"/>
        </p:nvSpPr>
        <p:spPr>
          <a:xfrm>
            <a:off x="8218855" y="1361983"/>
            <a:ext cx="285565" cy="445289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1" name="Freeform 30"/>
          <p:cNvSpPr/>
          <p:nvPr userDrawn="1"/>
        </p:nvSpPr>
        <p:spPr>
          <a:xfrm>
            <a:off x="7278612" y="1451041"/>
            <a:ext cx="330600" cy="365922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7284854" y="1348704"/>
            <a:ext cx="290370" cy="168163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166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F238C"/>
                </a:solidFill>
              </a:rPr>
              <a:t>&lt;Date&gt;</a:t>
            </a:r>
            <a:endParaRPr lang="nl-NL">
              <a:solidFill>
                <a:srgbClr val="0F238C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dirty="0">
                <a:solidFill>
                  <a:srgbClr val="0F238C"/>
                </a:solidFill>
              </a:rPr>
              <a:t>Slide </a:t>
            </a:r>
            <a:fld id="{1D9B13CD-33A0-446D-8703-F89F9F109F54}" type="slidenum">
              <a:rPr lang="nl-NL" smtClean="0">
                <a:solidFill>
                  <a:srgbClr val="0F238C"/>
                </a:solidFill>
              </a:rPr>
              <a:pPr/>
              <a:t>‹#›</a:t>
            </a:fld>
            <a:endParaRPr lang="nl-NL" dirty="0">
              <a:solidFill>
                <a:srgbClr val="0F238C"/>
              </a:solidFill>
            </a:endParaRP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3"/>
          </p:nvPr>
        </p:nvSpPr>
        <p:spPr>
          <a:xfrm>
            <a:off x="457200" y="792000"/>
            <a:ext cx="7610400" cy="3960000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52233" y="514800"/>
            <a:ext cx="751973" cy="9144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25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F238C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8791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F238C"/>
                </a:solidFill>
              </a:rPr>
              <a:t>&lt;Date&gt;</a:t>
            </a:r>
            <a:endParaRPr lang="nl-NL">
              <a:solidFill>
                <a:srgbClr val="0F238C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 dirty="0">
                <a:solidFill>
                  <a:srgbClr val="0F238C"/>
                </a:solidFill>
              </a:rPr>
              <a:t>Slide </a:t>
            </a:r>
            <a:fld id="{1D9B13CD-33A0-446D-8703-F89F9F109F54}" type="slidenum">
              <a:rPr lang="nl-NL" smtClean="0">
                <a:solidFill>
                  <a:srgbClr val="0F238C"/>
                </a:solidFill>
              </a:rPr>
              <a:pPr/>
              <a:t>‹#›</a:t>
            </a:fld>
            <a:endParaRPr lang="nl-NL" dirty="0">
              <a:solidFill>
                <a:srgbClr val="0F238C"/>
              </a:solidFill>
            </a:endParaRP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457200" y="486001"/>
            <a:ext cx="7610400" cy="2540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10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457200" y="792000"/>
            <a:ext cx="7610400" cy="3960000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52233" y="514800"/>
            <a:ext cx="751973" cy="9144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25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F238C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40612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el 1"/>
          <p:cNvSpPr>
            <a:spLocks noGrp="1"/>
          </p:cNvSpPr>
          <p:nvPr>
            <p:ph type="title"/>
          </p:nvPr>
        </p:nvSpPr>
        <p:spPr>
          <a:xfrm>
            <a:off x="457200" y="108001"/>
            <a:ext cx="7610400" cy="330200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7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8251200" y="774000"/>
            <a:ext cx="752400" cy="90000"/>
          </a:xfrm>
        </p:spPr>
        <p:txBody>
          <a:bodyPr/>
          <a:lstStyle/>
          <a:p>
            <a:r>
              <a:rPr lang="en-US">
                <a:solidFill>
                  <a:srgbClr val="0F238C"/>
                </a:solidFill>
              </a:rPr>
              <a:t>&lt;Date&gt;</a:t>
            </a:r>
            <a:endParaRPr lang="nl-NL">
              <a:solidFill>
                <a:srgbClr val="0F238C"/>
              </a:solidFill>
            </a:endParaRPr>
          </a:p>
        </p:txBody>
      </p:sp>
      <p:sp>
        <p:nvSpPr>
          <p:cNvPr id="38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251200" y="644400"/>
            <a:ext cx="752400" cy="90000"/>
          </a:xfrm>
        </p:spPr>
        <p:txBody>
          <a:bodyPr/>
          <a:lstStyle/>
          <a:p>
            <a:r>
              <a:rPr lang="nl-NL" dirty="0">
                <a:solidFill>
                  <a:srgbClr val="0F238C"/>
                </a:solidFill>
              </a:rPr>
              <a:t>Slide </a:t>
            </a:r>
            <a:fld id="{1D9B13CD-33A0-446D-8703-F89F9F109F54}" type="slidenum">
              <a:rPr lang="nl-NL" smtClean="0">
                <a:solidFill>
                  <a:srgbClr val="0F238C"/>
                </a:solidFill>
              </a:rPr>
              <a:pPr/>
              <a:t>‹#›</a:t>
            </a:fld>
            <a:endParaRPr lang="nl-NL" dirty="0">
              <a:solidFill>
                <a:srgbClr val="0F238C"/>
              </a:solidFill>
            </a:endParaRPr>
          </a:p>
        </p:txBody>
      </p:sp>
      <p:sp>
        <p:nvSpPr>
          <p:cNvPr id="39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457200" y="486001"/>
            <a:ext cx="7610400" cy="2540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0" name="Tijdelijke aanduiding voor tekst 10"/>
          <p:cNvSpPr>
            <a:spLocks noGrp="1"/>
          </p:cNvSpPr>
          <p:nvPr>
            <p:ph type="body" sz="quarter" idx="14"/>
          </p:nvPr>
        </p:nvSpPr>
        <p:spPr>
          <a:xfrm>
            <a:off x="457200" y="792000"/>
            <a:ext cx="7610400" cy="3960000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52233" y="514800"/>
            <a:ext cx="751973" cy="9144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25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F238C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6930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41651" y="4817269"/>
            <a:ext cx="1490663" cy="12977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F238C"/>
                </a:solidFill>
              </a:rPr>
              <a:t>Slide </a:t>
            </a:r>
            <a:fld id="{6025C81F-41D0-4B95-9E32-02B7B6239FB9}" type="slidenum">
              <a:rPr lang="en-US">
                <a:solidFill>
                  <a:srgbClr val="0F238C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0F238C"/>
                </a:solidFill>
              </a:rPr>
              <a:t>   |</a:t>
            </a:r>
          </a:p>
        </p:txBody>
      </p:sp>
      <p:sp>
        <p:nvSpPr>
          <p:cNvPr id="3" name="Rectangle 1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75D2A7-665F-48EE-898C-18A8D13D1258}" type="datetime5">
              <a:rPr lang="en-US">
                <a:solidFill>
                  <a:srgbClr val="0F238C"/>
                </a:solidFill>
              </a:rPr>
              <a:pPr>
                <a:defRPr/>
              </a:pPr>
              <a:t>16-Jul-18</a:t>
            </a:fld>
            <a:endParaRPr lang="en-US">
              <a:solidFill>
                <a:srgbClr val="0F238C"/>
              </a:solidFill>
            </a:endParaRPr>
          </a:p>
        </p:txBody>
      </p:sp>
      <p:sp>
        <p:nvSpPr>
          <p:cNvPr id="4" name="Rectangle 15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F23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476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41651" y="4817269"/>
            <a:ext cx="1490663" cy="12977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F238C"/>
                </a:solidFill>
              </a:rPr>
              <a:t>Slide </a:t>
            </a:r>
            <a:fld id="{6536A69C-BB33-4081-B1D7-7A3CC80FDF12}" type="slidenum">
              <a:rPr lang="en-US">
                <a:solidFill>
                  <a:srgbClr val="0F238C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0F238C"/>
                </a:solidFill>
              </a:rPr>
              <a:t>   |</a:t>
            </a:r>
          </a:p>
        </p:txBody>
      </p:sp>
      <p:sp>
        <p:nvSpPr>
          <p:cNvPr id="4" name="Rectangle 1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0B8695-D319-41E6-9183-CC294F0B09AF}" type="datetime5">
              <a:rPr lang="en-US">
                <a:solidFill>
                  <a:srgbClr val="0F238C"/>
                </a:solidFill>
              </a:rPr>
              <a:pPr>
                <a:defRPr/>
              </a:pPr>
              <a:t>16-Jul-18</a:t>
            </a:fld>
            <a:endParaRPr lang="en-US">
              <a:solidFill>
                <a:srgbClr val="0F238C"/>
              </a:solidFill>
            </a:endParaRPr>
          </a:p>
        </p:txBody>
      </p:sp>
      <p:sp>
        <p:nvSpPr>
          <p:cNvPr id="5" name="Rectangle 15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F23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001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SM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65588" cy="5570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1069848"/>
            <a:ext cx="6999828" cy="371170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1350">
                <a:solidFill>
                  <a:schemeClr val="tx2"/>
                </a:solidFill>
              </a:defRPr>
            </a:lvl1pPr>
            <a:lvl2pPr marL="302419" indent="-129779"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tabLst/>
              <a:defRPr sz="1200">
                <a:solidFill>
                  <a:schemeClr val="tx2"/>
                </a:solidFill>
              </a:defRPr>
            </a:lvl2pPr>
            <a:lvl3pPr marL="556022" indent="-129779">
              <a:spcBef>
                <a:spcPts val="0"/>
              </a:spcBef>
              <a:spcAft>
                <a:spcPts val="450"/>
              </a:spcAft>
              <a:defRPr sz="105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Text, Arial </a:t>
            </a:r>
            <a:r>
              <a:rPr lang="en-US" dirty="0" err="1"/>
              <a:t>18pt</a:t>
            </a:r>
            <a:r>
              <a:rPr lang="en-US" dirty="0"/>
              <a:t> middle blue</a:t>
            </a:r>
          </a:p>
          <a:p>
            <a:pPr lvl="1"/>
            <a:r>
              <a:rPr lang="en-US" dirty="0"/>
              <a:t>Second level, </a:t>
            </a:r>
            <a:r>
              <a:rPr lang="en-US" dirty="0" err="1"/>
              <a:t>16pt</a:t>
            </a:r>
            <a:r>
              <a:rPr lang="en-US" dirty="0"/>
              <a:t> middle blue</a:t>
            </a:r>
          </a:p>
          <a:p>
            <a:pPr lvl="2"/>
            <a:r>
              <a:rPr lang="en-US" dirty="0"/>
              <a:t>Third level, </a:t>
            </a:r>
            <a:r>
              <a:rPr lang="en-US" dirty="0" err="1"/>
              <a:t>14pt</a:t>
            </a:r>
            <a:r>
              <a:rPr lang="en-US" dirty="0"/>
              <a:t> middle blue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8252232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fld id="{E505A15B-40EF-48DC-947C-5DE9BA2A4693}" type="datetimeFigureOut">
              <a:rPr lang="en-US" smtClean="0">
                <a:solidFill>
                  <a:srgbClr val="0F238C"/>
                </a:solidFill>
              </a:rPr>
              <a:pPr/>
              <a:t>7/16/2018</a:t>
            </a:fld>
            <a:endParaRPr lang="en-US">
              <a:solidFill>
                <a:srgbClr val="0F238C"/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8252231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600" b="1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>
              <a:solidFill>
                <a:srgbClr val="1C7DDB"/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252232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fld id="{A6B3AD25-DB44-4269-A668-FEF361D92F04}" type="slidenum">
              <a:rPr lang="en-US" smtClean="0">
                <a:solidFill>
                  <a:srgbClr val="0F238C"/>
                </a:solidFill>
              </a:rPr>
              <a:pPr/>
              <a:t>‹#›</a:t>
            </a:fld>
            <a:endParaRPr lang="en-US">
              <a:solidFill>
                <a:srgbClr val="0F238C"/>
              </a:solidFill>
            </a:endParaRPr>
          </a:p>
        </p:txBody>
      </p:sp>
      <p:pic>
        <p:nvPicPr>
          <p:cNvPr id="8" name="Picture 1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grpSp>
        <p:nvGrpSpPr>
          <p:cNvPr id="9" name="Groep 8"/>
          <p:cNvGrpSpPr/>
          <p:nvPr userDrawn="1"/>
        </p:nvGrpSpPr>
        <p:grpSpPr>
          <a:xfrm>
            <a:off x="8320087" y="175582"/>
            <a:ext cx="684118" cy="155819"/>
            <a:chOff x="8320087" y="159540"/>
            <a:chExt cx="684118" cy="191810"/>
          </a:xfrm>
        </p:grpSpPr>
        <p:sp>
          <p:nvSpPr>
            <p:cNvPr id="10" name="Freeform 30"/>
            <p:cNvSpPr/>
            <p:nvPr userDrawn="1"/>
          </p:nvSpPr>
          <p:spPr>
            <a:xfrm>
              <a:off x="8320087" y="164783"/>
              <a:ext cx="170905" cy="182992"/>
            </a:xfrm>
            <a:custGeom>
              <a:avLst/>
              <a:gdLst>
                <a:gd name="connsiteX0" fmla="*/ 0 w 1097756"/>
                <a:gd name="connsiteY0" fmla="*/ 0 h 1181100"/>
                <a:gd name="connsiteX1" fmla="*/ 745331 w 1097756"/>
                <a:gd name="connsiteY1" fmla="*/ 0 h 1181100"/>
                <a:gd name="connsiteX2" fmla="*/ 1097756 w 1097756"/>
                <a:gd name="connsiteY2" fmla="*/ 1178718 h 1181100"/>
                <a:gd name="connsiteX3" fmla="*/ 523875 w 1097756"/>
                <a:gd name="connsiteY3" fmla="*/ 1181100 h 1181100"/>
                <a:gd name="connsiteX4" fmla="*/ 0 w 1097756"/>
                <a:gd name="connsiteY4" fmla="*/ 0 h 1181100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523875 w 1400175"/>
                <a:gd name="connsiteY3" fmla="*/ 1181100 h 2197893"/>
                <a:gd name="connsiteX4" fmla="*/ 0 w 1400175"/>
                <a:gd name="connsiteY4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1047750 w 1400175"/>
                <a:gd name="connsiteY3" fmla="*/ 1790700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50094 w 1400175"/>
                <a:gd name="connsiteY3" fmla="*/ 2193131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230981 w 1400175"/>
                <a:gd name="connsiteY5" fmla="*/ 295275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95262 w 1400175"/>
                <a:gd name="connsiteY5" fmla="*/ 1204913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135731 w 1400175"/>
                <a:gd name="connsiteY6" fmla="*/ 1102518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378619 w 1400175"/>
                <a:gd name="connsiteY7" fmla="*/ 862012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426244 w 1400175"/>
                <a:gd name="connsiteY8" fmla="*/ 1112043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52388 w 1400175"/>
                <a:gd name="connsiteY9" fmla="*/ 1131093 h 2197893"/>
                <a:gd name="connsiteX10" fmla="*/ 0 w 1400175"/>
                <a:gd name="connsiteY10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2197893 h 2197893"/>
                <a:gd name="connsiteX10" fmla="*/ 0 w 1400175"/>
                <a:gd name="connsiteY10" fmla="*/ 0 h 2197893"/>
                <a:gd name="connsiteX0" fmla="*/ 4762 w 1404937"/>
                <a:gd name="connsiteY0" fmla="*/ 0 h 2197893"/>
                <a:gd name="connsiteX1" fmla="*/ 750093 w 1404937"/>
                <a:gd name="connsiteY1" fmla="*/ 0 h 2197893"/>
                <a:gd name="connsiteX2" fmla="*/ 1404937 w 1404937"/>
                <a:gd name="connsiteY2" fmla="*/ 2197893 h 2197893"/>
                <a:gd name="connsiteX3" fmla="*/ 752475 w 1404937"/>
                <a:gd name="connsiteY3" fmla="*/ 2195512 h 2197893"/>
                <a:gd name="connsiteX4" fmla="*/ 376237 w 1404937"/>
                <a:gd name="connsiteY4" fmla="*/ 478631 h 2197893"/>
                <a:gd name="connsiteX5" fmla="*/ 178592 w 1404937"/>
                <a:gd name="connsiteY5" fmla="*/ 1383507 h 2197893"/>
                <a:gd name="connsiteX6" fmla="*/ 614362 w 1404937"/>
                <a:gd name="connsiteY6" fmla="*/ 1385887 h 2197893"/>
                <a:gd name="connsiteX7" fmla="*/ 697706 w 1404937"/>
                <a:gd name="connsiteY7" fmla="*/ 1797843 h 2197893"/>
                <a:gd name="connsiteX8" fmla="*/ 92868 w 1404937"/>
                <a:gd name="connsiteY8" fmla="*/ 1795462 h 2197893"/>
                <a:gd name="connsiteX9" fmla="*/ 4762 w 1404937"/>
                <a:gd name="connsiteY9" fmla="*/ 2197893 h 2197893"/>
                <a:gd name="connsiteX10" fmla="*/ 0 w 1404937"/>
                <a:gd name="connsiteY10" fmla="*/ 2045493 h 2197893"/>
                <a:gd name="connsiteX11" fmla="*/ 4762 w 1404937"/>
                <a:gd name="connsiteY11" fmla="*/ 0 h 2197893"/>
                <a:gd name="connsiteX0" fmla="*/ 652462 w 2052637"/>
                <a:gd name="connsiteY0" fmla="*/ 0 h 2197893"/>
                <a:gd name="connsiteX1" fmla="*/ 1397793 w 2052637"/>
                <a:gd name="connsiteY1" fmla="*/ 0 h 2197893"/>
                <a:gd name="connsiteX2" fmla="*/ 2052637 w 2052637"/>
                <a:gd name="connsiteY2" fmla="*/ 2197893 h 2197893"/>
                <a:gd name="connsiteX3" fmla="*/ 1400175 w 2052637"/>
                <a:gd name="connsiteY3" fmla="*/ 2195512 h 2197893"/>
                <a:gd name="connsiteX4" fmla="*/ 1023937 w 2052637"/>
                <a:gd name="connsiteY4" fmla="*/ 478631 h 2197893"/>
                <a:gd name="connsiteX5" fmla="*/ 826292 w 2052637"/>
                <a:gd name="connsiteY5" fmla="*/ 1383507 h 2197893"/>
                <a:gd name="connsiteX6" fmla="*/ 1262062 w 2052637"/>
                <a:gd name="connsiteY6" fmla="*/ 1385887 h 2197893"/>
                <a:gd name="connsiteX7" fmla="*/ 1345406 w 2052637"/>
                <a:gd name="connsiteY7" fmla="*/ 1797843 h 2197893"/>
                <a:gd name="connsiteX8" fmla="*/ 740568 w 2052637"/>
                <a:gd name="connsiteY8" fmla="*/ 1795462 h 2197893"/>
                <a:gd name="connsiteX9" fmla="*/ 652462 w 2052637"/>
                <a:gd name="connsiteY9" fmla="*/ 2197893 h 2197893"/>
                <a:gd name="connsiteX10" fmla="*/ 0 w 2052637"/>
                <a:gd name="connsiteY10" fmla="*/ 2193131 h 2197893"/>
                <a:gd name="connsiteX11" fmla="*/ 652462 w 2052637"/>
                <a:gd name="connsiteY11" fmla="*/ 0 h 2197893"/>
                <a:gd name="connsiteX0" fmla="*/ 652462 w 2052637"/>
                <a:gd name="connsiteY0" fmla="*/ 1 h 2197894"/>
                <a:gd name="connsiteX1" fmla="*/ 1397793 w 2052637"/>
                <a:gd name="connsiteY1" fmla="*/ 1 h 2197894"/>
                <a:gd name="connsiteX2" fmla="*/ 2052637 w 2052637"/>
                <a:gd name="connsiteY2" fmla="*/ 2197894 h 2197894"/>
                <a:gd name="connsiteX3" fmla="*/ 1400175 w 2052637"/>
                <a:gd name="connsiteY3" fmla="*/ 2195513 h 2197894"/>
                <a:gd name="connsiteX4" fmla="*/ 1023937 w 2052637"/>
                <a:gd name="connsiteY4" fmla="*/ 478632 h 2197894"/>
                <a:gd name="connsiteX5" fmla="*/ 826292 w 2052637"/>
                <a:gd name="connsiteY5" fmla="*/ 1383508 h 2197894"/>
                <a:gd name="connsiteX6" fmla="*/ 1262062 w 2052637"/>
                <a:gd name="connsiteY6" fmla="*/ 1385888 h 2197894"/>
                <a:gd name="connsiteX7" fmla="*/ 1345406 w 2052637"/>
                <a:gd name="connsiteY7" fmla="*/ 1797844 h 2197894"/>
                <a:gd name="connsiteX8" fmla="*/ 740568 w 2052637"/>
                <a:gd name="connsiteY8" fmla="*/ 1795463 h 2197894"/>
                <a:gd name="connsiteX9" fmla="*/ 652462 w 2052637"/>
                <a:gd name="connsiteY9" fmla="*/ 2197894 h 2197894"/>
                <a:gd name="connsiteX10" fmla="*/ 0 w 2052637"/>
                <a:gd name="connsiteY10" fmla="*/ 2193132 h 2197894"/>
                <a:gd name="connsiteX11" fmla="*/ 652462 w 2052637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62133 w 2052708"/>
                <a:gd name="connsiteY6" fmla="*/ 1385888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9271 w 2052708"/>
                <a:gd name="connsiteY6" fmla="*/ 1376363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5463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2708" h="2197894">
                  <a:moveTo>
                    <a:pt x="652533" y="1"/>
                  </a:moveTo>
                  <a:lnTo>
                    <a:pt x="1397864" y="1"/>
                  </a:lnTo>
                  <a:lnTo>
                    <a:pt x="2052708" y="2197894"/>
                  </a:lnTo>
                  <a:lnTo>
                    <a:pt x="1400246" y="2195513"/>
                  </a:lnTo>
                  <a:lnTo>
                    <a:pt x="1024008" y="478632"/>
                  </a:lnTo>
                  <a:lnTo>
                    <a:pt x="826363" y="1383508"/>
                  </a:lnTo>
                  <a:lnTo>
                    <a:pt x="1221653" y="1383507"/>
                  </a:lnTo>
                  <a:lnTo>
                    <a:pt x="1312139" y="1795463"/>
                  </a:lnTo>
                  <a:lnTo>
                    <a:pt x="740639" y="1795463"/>
                  </a:lnTo>
                  <a:lnTo>
                    <a:pt x="652533" y="2197894"/>
                  </a:lnTo>
                  <a:lnTo>
                    <a:pt x="71" y="2193132"/>
                  </a:lnTo>
                  <a:cubicBezTo>
                    <a:pt x="-7867" y="2197101"/>
                    <a:pt x="648565" y="-1587"/>
                    <a:pt x="652533" y="1"/>
                  </a:cubicBezTo>
                  <a:close/>
                </a:path>
              </a:pathLst>
            </a:custGeom>
            <a:solidFill>
              <a:srgbClr val="0F23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1" name="Freeform 31"/>
            <p:cNvSpPr/>
            <p:nvPr userDrawn="1"/>
          </p:nvSpPr>
          <p:spPr>
            <a:xfrm>
              <a:off x="8653685" y="164584"/>
              <a:ext cx="208171" cy="182993"/>
            </a:xfrm>
            <a:custGeom>
              <a:avLst/>
              <a:gdLst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0 w 688182"/>
                <a:gd name="connsiteY3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214313 w 688182"/>
                <a:gd name="connsiteY3" fmla="*/ 652463 h 950119"/>
                <a:gd name="connsiteX4" fmla="*/ 0 w 688182"/>
                <a:gd name="connsiteY4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111919 w 688182"/>
                <a:gd name="connsiteY3" fmla="*/ 95250 h 950119"/>
                <a:gd name="connsiteX4" fmla="*/ 0 w 688182"/>
                <a:gd name="connsiteY4" fmla="*/ 950119 h 950119"/>
                <a:gd name="connsiteX0" fmla="*/ 0 w 723900"/>
                <a:gd name="connsiteY0" fmla="*/ 1395413 h 1395413"/>
                <a:gd name="connsiteX1" fmla="*/ 611982 w 723900"/>
                <a:gd name="connsiteY1" fmla="*/ 1395413 h 1395413"/>
                <a:gd name="connsiteX2" fmla="*/ 723900 w 723900"/>
                <a:gd name="connsiteY2" fmla="*/ 0 h 1395413"/>
                <a:gd name="connsiteX3" fmla="*/ 111919 w 723900"/>
                <a:gd name="connsiteY3" fmla="*/ 540544 h 1395413"/>
                <a:gd name="connsiteX4" fmla="*/ 0 w 723900"/>
                <a:gd name="connsiteY4" fmla="*/ 1395413 h 1395413"/>
                <a:gd name="connsiteX0" fmla="*/ 0 w 723900"/>
                <a:gd name="connsiteY0" fmla="*/ 2031206 h 2031206"/>
                <a:gd name="connsiteX1" fmla="*/ 611982 w 723900"/>
                <a:gd name="connsiteY1" fmla="*/ 2031206 h 2031206"/>
                <a:gd name="connsiteX2" fmla="*/ 723900 w 723900"/>
                <a:gd name="connsiteY2" fmla="*/ 635793 h 2031206"/>
                <a:gd name="connsiteX3" fmla="*/ 266700 w 723900"/>
                <a:gd name="connsiteY3" fmla="*/ 0 h 2031206"/>
                <a:gd name="connsiteX4" fmla="*/ 0 w 723900"/>
                <a:gd name="connsiteY4" fmla="*/ 2031206 h 2031206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283369 w 723900"/>
                <a:gd name="connsiteY3" fmla="*/ 0 h 2195513"/>
                <a:gd name="connsiteX4" fmla="*/ 0 w 723900"/>
                <a:gd name="connsiteY4" fmla="*/ 2195513 h 2195513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500063 w 723900"/>
                <a:gd name="connsiteY3" fmla="*/ 388145 h 2195513"/>
                <a:gd name="connsiteX4" fmla="*/ 283369 w 723900"/>
                <a:gd name="connsiteY4" fmla="*/ 0 h 2195513"/>
                <a:gd name="connsiteX5" fmla="*/ 0 w 723900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945356 w 945356"/>
                <a:gd name="connsiteY3" fmla="*/ 2382 h 2195513"/>
                <a:gd name="connsiteX4" fmla="*/ 283369 w 945356"/>
                <a:gd name="connsiteY4" fmla="*/ 0 h 2195513"/>
                <a:gd name="connsiteX5" fmla="*/ 0 w 945356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790575 w 945356"/>
                <a:gd name="connsiteY3" fmla="*/ 545308 h 2195513"/>
                <a:gd name="connsiteX4" fmla="*/ 945356 w 945356"/>
                <a:gd name="connsiteY4" fmla="*/ 2382 h 2195513"/>
                <a:gd name="connsiteX5" fmla="*/ 283369 w 945356"/>
                <a:gd name="connsiteY5" fmla="*/ 0 h 2195513"/>
                <a:gd name="connsiteX6" fmla="*/ 0 w 945356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252537 w 1252537"/>
                <a:gd name="connsiteY3" fmla="*/ 1333501 h 2195513"/>
                <a:gd name="connsiteX4" fmla="*/ 945356 w 1252537"/>
                <a:gd name="connsiteY4" fmla="*/ 2382 h 2195513"/>
                <a:gd name="connsiteX5" fmla="*/ 283369 w 1252537"/>
                <a:gd name="connsiteY5" fmla="*/ 0 h 2195513"/>
                <a:gd name="connsiteX6" fmla="*/ 0 w 1252537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31082 w 1252537"/>
                <a:gd name="connsiteY3" fmla="*/ 1112045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173957 w 1252537"/>
                <a:gd name="connsiteY4" fmla="*/ 1600202 h 2195513"/>
                <a:gd name="connsiteX5" fmla="*/ 1252537 w 1252537"/>
                <a:gd name="connsiteY5" fmla="*/ 1333501 h 2195513"/>
                <a:gd name="connsiteX6" fmla="*/ 945356 w 1252537"/>
                <a:gd name="connsiteY6" fmla="*/ 2382 h 2195513"/>
                <a:gd name="connsiteX7" fmla="*/ 283369 w 1252537"/>
                <a:gd name="connsiteY7" fmla="*/ 0 h 2195513"/>
                <a:gd name="connsiteX8" fmla="*/ 0 w 1252537"/>
                <a:gd name="connsiteY8" fmla="*/ 2195513 h 2195513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252537 w 1488282"/>
                <a:gd name="connsiteY5" fmla="*/ 1333501 h 2195514"/>
                <a:gd name="connsiteX6" fmla="*/ 945356 w 1488282"/>
                <a:gd name="connsiteY6" fmla="*/ 2382 h 2195514"/>
                <a:gd name="connsiteX7" fmla="*/ 283369 w 1488282"/>
                <a:gd name="connsiteY7" fmla="*/ 0 h 2195514"/>
                <a:gd name="connsiteX8" fmla="*/ 0 w 1488282"/>
                <a:gd name="connsiteY8" fmla="*/ 2195513 h 2195514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352549 w 1488282"/>
                <a:gd name="connsiteY5" fmla="*/ 1690688 h 2195514"/>
                <a:gd name="connsiteX6" fmla="*/ 1252537 w 1488282"/>
                <a:gd name="connsiteY6" fmla="*/ 1333501 h 2195514"/>
                <a:gd name="connsiteX7" fmla="*/ 945356 w 1488282"/>
                <a:gd name="connsiteY7" fmla="*/ 2382 h 2195514"/>
                <a:gd name="connsiteX8" fmla="*/ 283369 w 1488282"/>
                <a:gd name="connsiteY8" fmla="*/ 0 h 2195514"/>
                <a:gd name="connsiteX9" fmla="*/ 0 w 1488282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252537 w 1781174"/>
                <a:gd name="connsiteY6" fmla="*/ 1333501 h 2195514"/>
                <a:gd name="connsiteX7" fmla="*/ 945356 w 1781174"/>
                <a:gd name="connsiteY7" fmla="*/ 2382 h 2195514"/>
                <a:gd name="connsiteX8" fmla="*/ 283369 w 1781174"/>
                <a:gd name="connsiteY8" fmla="*/ 0 h 2195514"/>
                <a:gd name="connsiteX9" fmla="*/ 0 w 1781174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528762 w 1781174"/>
                <a:gd name="connsiteY6" fmla="*/ 1052513 h 2195514"/>
                <a:gd name="connsiteX7" fmla="*/ 1252537 w 1781174"/>
                <a:gd name="connsiteY7" fmla="*/ 1333501 h 2195514"/>
                <a:gd name="connsiteX8" fmla="*/ 945356 w 1781174"/>
                <a:gd name="connsiteY8" fmla="*/ 2382 h 2195514"/>
                <a:gd name="connsiteX9" fmla="*/ 283369 w 1781174"/>
                <a:gd name="connsiteY9" fmla="*/ 0 h 2195514"/>
                <a:gd name="connsiteX10" fmla="*/ 0 w 1781174"/>
                <a:gd name="connsiteY10" fmla="*/ 2195513 h 2195514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559719 w 1781174"/>
                <a:gd name="connsiteY6" fmla="*/ 0 h 2197895"/>
                <a:gd name="connsiteX7" fmla="*/ 1252537 w 1781174"/>
                <a:gd name="connsiteY7" fmla="*/ 1335882 h 2197895"/>
                <a:gd name="connsiteX8" fmla="*/ 945356 w 1781174"/>
                <a:gd name="connsiteY8" fmla="*/ 4763 h 2197895"/>
                <a:gd name="connsiteX9" fmla="*/ 283369 w 1781174"/>
                <a:gd name="connsiteY9" fmla="*/ 2381 h 2197895"/>
                <a:gd name="connsiteX10" fmla="*/ 0 w 1781174"/>
                <a:gd name="connsiteY10" fmla="*/ 2197894 h 2197895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688306 w 1781174"/>
                <a:gd name="connsiteY6" fmla="*/ 454820 h 2197895"/>
                <a:gd name="connsiteX7" fmla="*/ 1559719 w 1781174"/>
                <a:gd name="connsiteY7" fmla="*/ 0 h 2197895"/>
                <a:gd name="connsiteX8" fmla="*/ 1252537 w 1781174"/>
                <a:gd name="connsiteY8" fmla="*/ 1335882 h 2197895"/>
                <a:gd name="connsiteX9" fmla="*/ 945356 w 1781174"/>
                <a:gd name="connsiteY9" fmla="*/ 4763 h 2197895"/>
                <a:gd name="connsiteX10" fmla="*/ 283369 w 1781174"/>
                <a:gd name="connsiteY10" fmla="*/ 2381 h 2197895"/>
                <a:gd name="connsiteX11" fmla="*/ 0 w 1781174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212181 w 2212181"/>
                <a:gd name="connsiteY6" fmla="*/ 7145 h 2197895"/>
                <a:gd name="connsiteX7" fmla="*/ 1559719 w 2212181"/>
                <a:gd name="connsiteY7" fmla="*/ 0 h 2197895"/>
                <a:gd name="connsiteX8" fmla="*/ 1252537 w 2212181"/>
                <a:gd name="connsiteY8" fmla="*/ 1335882 h 2197895"/>
                <a:gd name="connsiteX9" fmla="*/ 945356 w 2212181"/>
                <a:gd name="connsiteY9" fmla="*/ 4763 h 2197895"/>
                <a:gd name="connsiteX10" fmla="*/ 283369 w 2212181"/>
                <a:gd name="connsiteY10" fmla="*/ 2381 h 2197895"/>
                <a:gd name="connsiteX11" fmla="*/ 0 w 2212181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035968 w 2212181"/>
                <a:gd name="connsiteY6" fmla="*/ 328614 h 2197895"/>
                <a:gd name="connsiteX7" fmla="*/ 2212181 w 2212181"/>
                <a:gd name="connsiteY7" fmla="*/ 7145 h 2197895"/>
                <a:gd name="connsiteX8" fmla="*/ 1559719 w 2212181"/>
                <a:gd name="connsiteY8" fmla="*/ 0 h 2197895"/>
                <a:gd name="connsiteX9" fmla="*/ 1252537 w 2212181"/>
                <a:gd name="connsiteY9" fmla="*/ 1335882 h 2197895"/>
                <a:gd name="connsiteX10" fmla="*/ 945356 w 2212181"/>
                <a:gd name="connsiteY10" fmla="*/ 4763 h 2197895"/>
                <a:gd name="connsiteX11" fmla="*/ 283369 w 2212181"/>
                <a:gd name="connsiteY11" fmla="*/ 2381 h 2197895"/>
                <a:gd name="connsiteX12" fmla="*/ 0 w 2212181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500312 w 2500312"/>
                <a:gd name="connsiteY6" fmla="*/ 2197895 h 2197895"/>
                <a:gd name="connsiteX7" fmla="*/ 2212181 w 2500312"/>
                <a:gd name="connsiteY7" fmla="*/ 7145 h 2197895"/>
                <a:gd name="connsiteX8" fmla="*/ 1559719 w 2500312"/>
                <a:gd name="connsiteY8" fmla="*/ 0 h 2197895"/>
                <a:gd name="connsiteX9" fmla="*/ 1252537 w 2500312"/>
                <a:gd name="connsiteY9" fmla="*/ 1335882 h 2197895"/>
                <a:gd name="connsiteX10" fmla="*/ 945356 w 2500312"/>
                <a:gd name="connsiteY10" fmla="*/ 4763 h 2197895"/>
                <a:gd name="connsiteX11" fmla="*/ 283369 w 2500312"/>
                <a:gd name="connsiteY11" fmla="*/ 2381 h 2197895"/>
                <a:gd name="connsiteX12" fmla="*/ 0 w 2500312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190748 w 2500312"/>
                <a:gd name="connsiteY6" fmla="*/ 1595439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76411 w 2500312"/>
                <a:gd name="connsiteY5" fmla="*/ 809626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00312" h="2197895">
                  <a:moveTo>
                    <a:pt x="0" y="2197894"/>
                  </a:moveTo>
                  <a:lnTo>
                    <a:pt x="611982" y="2197894"/>
                  </a:lnTo>
                  <a:lnTo>
                    <a:pt x="723900" y="802481"/>
                  </a:lnTo>
                  <a:lnTo>
                    <a:pt x="1007270" y="2195513"/>
                  </a:lnTo>
                  <a:lnTo>
                    <a:pt x="1488282" y="2197895"/>
                  </a:lnTo>
                  <a:lnTo>
                    <a:pt x="1776411" y="809626"/>
                  </a:lnTo>
                  <a:lnTo>
                    <a:pt x="1883567" y="2195514"/>
                  </a:lnTo>
                  <a:lnTo>
                    <a:pt x="2500312" y="2197895"/>
                  </a:lnTo>
                  <a:lnTo>
                    <a:pt x="2212181" y="7145"/>
                  </a:lnTo>
                  <a:lnTo>
                    <a:pt x="1559719" y="0"/>
                  </a:lnTo>
                  <a:lnTo>
                    <a:pt x="1252537" y="1335882"/>
                  </a:lnTo>
                  <a:lnTo>
                    <a:pt x="945356" y="4763"/>
                  </a:lnTo>
                  <a:lnTo>
                    <a:pt x="283369" y="2381"/>
                  </a:lnTo>
                  <a:lnTo>
                    <a:pt x="0" y="2197894"/>
                  </a:ln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2" name="Freeform 32"/>
            <p:cNvSpPr/>
            <p:nvPr userDrawn="1"/>
          </p:nvSpPr>
          <p:spPr>
            <a:xfrm>
              <a:off x="8887233" y="164981"/>
              <a:ext cx="116972" cy="182397"/>
            </a:xfrm>
            <a:custGeom>
              <a:avLst/>
              <a:gdLst>
                <a:gd name="connsiteX0" fmla="*/ 0 w 1428750"/>
                <a:gd name="connsiteY0" fmla="*/ 997744 h 997744"/>
                <a:gd name="connsiteX1" fmla="*/ 1404937 w 1428750"/>
                <a:gd name="connsiteY1" fmla="*/ 997744 h 997744"/>
                <a:gd name="connsiteX2" fmla="*/ 1404937 w 1428750"/>
                <a:gd name="connsiteY2" fmla="*/ 538163 h 997744"/>
                <a:gd name="connsiteX3" fmla="*/ 1428750 w 1428750"/>
                <a:gd name="connsiteY3" fmla="*/ 540544 h 997744"/>
                <a:gd name="connsiteX4" fmla="*/ 590550 w 1428750"/>
                <a:gd name="connsiteY4" fmla="*/ 540544 h 997744"/>
                <a:gd name="connsiteX5" fmla="*/ 590550 w 1428750"/>
                <a:gd name="connsiteY5" fmla="*/ 0 h 997744"/>
                <a:gd name="connsiteX6" fmla="*/ 0 w 1428750"/>
                <a:gd name="connsiteY6" fmla="*/ 0 h 997744"/>
                <a:gd name="connsiteX7" fmla="*/ 0 w 1428750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1219200 w 1404937"/>
                <a:gd name="connsiteY3" fmla="*/ 476250 h 997744"/>
                <a:gd name="connsiteX4" fmla="*/ 590550 w 1404937"/>
                <a:gd name="connsiteY4" fmla="*/ 540544 h 997744"/>
                <a:gd name="connsiteX5" fmla="*/ 590550 w 1404937"/>
                <a:gd name="connsiteY5" fmla="*/ 0 h 997744"/>
                <a:gd name="connsiteX6" fmla="*/ 0 w 1404937"/>
                <a:gd name="connsiteY6" fmla="*/ 0 h 997744"/>
                <a:gd name="connsiteX7" fmla="*/ 0 w 1404937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590550 w 1404937"/>
                <a:gd name="connsiteY3" fmla="*/ 540544 h 997744"/>
                <a:gd name="connsiteX4" fmla="*/ 590550 w 1404937"/>
                <a:gd name="connsiteY4" fmla="*/ 0 h 997744"/>
                <a:gd name="connsiteX5" fmla="*/ 0 w 1404937"/>
                <a:gd name="connsiteY5" fmla="*/ 0 h 997744"/>
                <a:gd name="connsiteX6" fmla="*/ 0 w 1404937"/>
                <a:gd name="connsiteY6" fmla="*/ 997744 h 997744"/>
                <a:gd name="connsiteX0" fmla="*/ 0 w 1404937"/>
                <a:gd name="connsiteY0" fmla="*/ 1614488 h 1614488"/>
                <a:gd name="connsiteX1" fmla="*/ 1404937 w 1404937"/>
                <a:gd name="connsiteY1" fmla="*/ 1614488 h 1614488"/>
                <a:gd name="connsiteX2" fmla="*/ 1404937 w 1404937"/>
                <a:gd name="connsiteY2" fmla="*/ 1154907 h 1614488"/>
                <a:gd name="connsiteX3" fmla="*/ 590550 w 1404937"/>
                <a:gd name="connsiteY3" fmla="*/ 1157288 h 1614488"/>
                <a:gd name="connsiteX4" fmla="*/ 592931 w 1404937"/>
                <a:gd name="connsiteY4" fmla="*/ 0 h 1614488"/>
                <a:gd name="connsiteX5" fmla="*/ 0 w 1404937"/>
                <a:gd name="connsiteY5" fmla="*/ 616744 h 1614488"/>
                <a:gd name="connsiteX6" fmla="*/ 0 w 1404937"/>
                <a:gd name="connsiteY6" fmla="*/ 1614488 h 1614488"/>
                <a:gd name="connsiteX0" fmla="*/ 0 w 1404937"/>
                <a:gd name="connsiteY0" fmla="*/ 2188369 h 2188369"/>
                <a:gd name="connsiteX1" fmla="*/ 1404937 w 1404937"/>
                <a:gd name="connsiteY1" fmla="*/ 2188369 h 2188369"/>
                <a:gd name="connsiteX2" fmla="*/ 1404937 w 1404937"/>
                <a:gd name="connsiteY2" fmla="*/ 1728788 h 2188369"/>
                <a:gd name="connsiteX3" fmla="*/ 590550 w 1404937"/>
                <a:gd name="connsiteY3" fmla="*/ 1731169 h 2188369"/>
                <a:gd name="connsiteX4" fmla="*/ 592931 w 1404937"/>
                <a:gd name="connsiteY4" fmla="*/ 573881 h 2188369"/>
                <a:gd name="connsiteX5" fmla="*/ 2382 w 1404937"/>
                <a:gd name="connsiteY5" fmla="*/ 0 h 2188369"/>
                <a:gd name="connsiteX6" fmla="*/ 0 w 1404937"/>
                <a:gd name="connsiteY6" fmla="*/ 2188369 h 2188369"/>
                <a:gd name="connsiteX0" fmla="*/ 0 w 1404937"/>
                <a:gd name="connsiteY0" fmla="*/ 2190750 h 2190750"/>
                <a:gd name="connsiteX1" fmla="*/ 1404937 w 1404937"/>
                <a:gd name="connsiteY1" fmla="*/ 2190750 h 2190750"/>
                <a:gd name="connsiteX2" fmla="*/ 1404937 w 1404937"/>
                <a:gd name="connsiteY2" fmla="*/ 1731169 h 2190750"/>
                <a:gd name="connsiteX3" fmla="*/ 590550 w 1404937"/>
                <a:gd name="connsiteY3" fmla="*/ 1733550 h 2190750"/>
                <a:gd name="connsiteX4" fmla="*/ 592931 w 1404937"/>
                <a:gd name="connsiteY4" fmla="*/ 0 h 2190750"/>
                <a:gd name="connsiteX5" fmla="*/ 2382 w 1404937"/>
                <a:gd name="connsiteY5" fmla="*/ 2381 h 2190750"/>
                <a:gd name="connsiteX6" fmla="*/ 0 w 1404937"/>
                <a:gd name="connsiteY6" fmla="*/ 2190750 h 219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4937" h="2190750">
                  <a:moveTo>
                    <a:pt x="0" y="2190750"/>
                  </a:moveTo>
                  <a:lnTo>
                    <a:pt x="1404937" y="2190750"/>
                  </a:lnTo>
                  <a:lnTo>
                    <a:pt x="1404937" y="1731169"/>
                  </a:lnTo>
                  <a:lnTo>
                    <a:pt x="590550" y="1733550"/>
                  </a:lnTo>
                  <a:cubicBezTo>
                    <a:pt x="591344" y="1347787"/>
                    <a:pt x="592137" y="385763"/>
                    <a:pt x="592931" y="0"/>
                  </a:cubicBezTo>
                  <a:lnTo>
                    <a:pt x="2382" y="2381"/>
                  </a:lnTo>
                  <a:cubicBezTo>
                    <a:pt x="3969" y="334962"/>
                    <a:pt x="3175" y="1858169"/>
                    <a:pt x="0" y="2190750"/>
                  </a:cubicBez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3" name="Freeform 33"/>
            <p:cNvSpPr/>
            <p:nvPr userDrawn="1"/>
          </p:nvSpPr>
          <p:spPr>
            <a:xfrm>
              <a:off x="8502102" y="201462"/>
              <a:ext cx="135419" cy="149888"/>
            </a:xfrm>
            <a:custGeom>
              <a:avLst/>
              <a:gdLst>
                <a:gd name="connsiteX0" fmla="*/ 0 w 483394"/>
                <a:gd name="connsiteY0" fmla="*/ 0 h 645319"/>
                <a:gd name="connsiteX1" fmla="*/ 0 w 483394"/>
                <a:gd name="connsiteY1" fmla="*/ 528638 h 645319"/>
                <a:gd name="connsiteX2" fmla="*/ 33338 w 483394"/>
                <a:gd name="connsiteY2" fmla="*/ 528638 h 645319"/>
                <a:gd name="connsiteX3" fmla="*/ 381000 w 483394"/>
                <a:gd name="connsiteY3" fmla="*/ 645319 h 645319"/>
                <a:gd name="connsiteX4" fmla="*/ 483394 w 483394"/>
                <a:gd name="connsiteY4" fmla="*/ 216694 h 645319"/>
                <a:gd name="connsiteX5" fmla="*/ 0 w 483394"/>
                <a:gd name="connsiteY5" fmla="*/ 0 h 645319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714375"/>
                <a:gd name="connsiteX1" fmla="*/ 0 w 1626394"/>
                <a:gd name="connsiteY1" fmla="*/ 528638 h 714375"/>
                <a:gd name="connsiteX2" fmla="*/ 354807 w 1626394"/>
                <a:gd name="connsiteY2" fmla="*/ 714375 h 714375"/>
                <a:gd name="connsiteX3" fmla="*/ 1626394 w 1626394"/>
                <a:gd name="connsiteY3" fmla="*/ 7144 h 714375"/>
                <a:gd name="connsiteX4" fmla="*/ 483394 w 1626394"/>
                <a:gd name="connsiteY4" fmla="*/ 216694 h 714375"/>
                <a:gd name="connsiteX5" fmla="*/ 0 w 1626394"/>
                <a:gd name="connsiteY5" fmla="*/ 0 h 714375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681404"/>
                <a:gd name="connsiteX1" fmla="*/ 0 w 1626394"/>
                <a:gd name="connsiteY1" fmla="*/ 528638 h 681404"/>
                <a:gd name="connsiteX2" fmla="*/ 1626394 w 1626394"/>
                <a:gd name="connsiteY2" fmla="*/ 7144 h 681404"/>
                <a:gd name="connsiteX3" fmla="*/ 483394 w 1626394"/>
                <a:gd name="connsiteY3" fmla="*/ 216694 h 681404"/>
                <a:gd name="connsiteX4" fmla="*/ 0 w 1626394"/>
                <a:gd name="connsiteY4" fmla="*/ 0 h 681404"/>
                <a:gd name="connsiteX0" fmla="*/ 0 w 1626394"/>
                <a:gd name="connsiteY0" fmla="*/ 0 h 661055"/>
                <a:gd name="connsiteX1" fmla="*/ 0 w 1626394"/>
                <a:gd name="connsiteY1" fmla="*/ 528638 h 661055"/>
                <a:gd name="connsiteX2" fmla="*/ 1626394 w 1626394"/>
                <a:gd name="connsiteY2" fmla="*/ 7144 h 661055"/>
                <a:gd name="connsiteX3" fmla="*/ 483394 w 1626394"/>
                <a:gd name="connsiteY3" fmla="*/ 216694 h 661055"/>
                <a:gd name="connsiteX4" fmla="*/ 0 w 1626394"/>
                <a:gd name="connsiteY4" fmla="*/ 0 h 661055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483394 w 1626394"/>
                <a:gd name="connsiteY3" fmla="*/ 216694 h 678971"/>
                <a:gd name="connsiteX4" fmla="*/ 0 w 1626394"/>
                <a:gd name="connsiteY4" fmla="*/ 0 h 678971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621506 w 1626394"/>
                <a:gd name="connsiteY3" fmla="*/ 233363 h 678971"/>
                <a:gd name="connsiteX4" fmla="*/ 0 w 1626394"/>
                <a:gd name="connsiteY4" fmla="*/ 0 h 67897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621506 w 1626394"/>
                <a:gd name="connsiteY3" fmla="*/ 238223 h 683831"/>
                <a:gd name="connsiteX4" fmla="*/ 0 w 1626394"/>
                <a:gd name="connsiteY4" fmla="*/ 4860 h 68383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1066800 w 1626394"/>
                <a:gd name="connsiteY3" fmla="*/ 135830 h 683831"/>
                <a:gd name="connsiteX4" fmla="*/ 621506 w 1626394"/>
                <a:gd name="connsiteY4" fmla="*/ 238223 h 683831"/>
                <a:gd name="connsiteX5" fmla="*/ 0 w 1626394"/>
                <a:gd name="connsiteY5" fmla="*/ 4860 h 683831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923925 w 1626394"/>
                <a:gd name="connsiteY3" fmla="*/ 0 h 790888"/>
                <a:gd name="connsiteX4" fmla="*/ 621506 w 1626394"/>
                <a:gd name="connsiteY4" fmla="*/ 345280 h 790888"/>
                <a:gd name="connsiteX5" fmla="*/ 0 w 1626394"/>
                <a:gd name="connsiteY5" fmla="*/ 111917 h 790888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1059656 w 1626394"/>
                <a:gd name="connsiteY3" fmla="*/ 23812 h 790888"/>
                <a:gd name="connsiteX4" fmla="*/ 923925 w 1626394"/>
                <a:gd name="connsiteY4" fmla="*/ 0 h 790888"/>
                <a:gd name="connsiteX5" fmla="*/ 621506 w 1626394"/>
                <a:gd name="connsiteY5" fmla="*/ 345280 h 790888"/>
                <a:gd name="connsiteX6" fmla="*/ 0 w 1626394"/>
                <a:gd name="connsiteY6" fmla="*/ 111917 h 790888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35310"/>
                <a:gd name="connsiteY0" fmla="*/ 538161 h 1066802"/>
                <a:gd name="connsiteX1" fmla="*/ 0 w 1635310"/>
                <a:gd name="connsiteY1" fmla="*/ 1066799 h 1066802"/>
                <a:gd name="connsiteX2" fmla="*/ 1626394 w 1635310"/>
                <a:gd name="connsiteY2" fmla="*/ 545305 h 1066802"/>
                <a:gd name="connsiteX3" fmla="*/ 1323974 w 1635310"/>
                <a:gd name="connsiteY3" fmla="*/ 0 h 1066802"/>
                <a:gd name="connsiteX4" fmla="*/ 923925 w 1635310"/>
                <a:gd name="connsiteY4" fmla="*/ 426244 h 1066802"/>
                <a:gd name="connsiteX5" fmla="*/ 621506 w 1635310"/>
                <a:gd name="connsiteY5" fmla="*/ 771524 h 1066802"/>
                <a:gd name="connsiteX6" fmla="*/ 0 w 1635310"/>
                <a:gd name="connsiteY6" fmla="*/ 538161 h 1066802"/>
                <a:gd name="connsiteX0" fmla="*/ 0 w 1632620"/>
                <a:gd name="connsiteY0" fmla="*/ 538161 h 1083110"/>
                <a:gd name="connsiteX1" fmla="*/ 0 w 1632620"/>
                <a:gd name="connsiteY1" fmla="*/ 1066799 h 1083110"/>
                <a:gd name="connsiteX2" fmla="*/ 1626394 w 1632620"/>
                <a:gd name="connsiteY2" fmla="*/ 545305 h 1083110"/>
                <a:gd name="connsiteX3" fmla="*/ 1323974 w 1632620"/>
                <a:gd name="connsiteY3" fmla="*/ 0 h 1083110"/>
                <a:gd name="connsiteX4" fmla="*/ 923925 w 1632620"/>
                <a:gd name="connsiteY4" fmla="*/ 426244 h 1083110"/>
                <a:gd name="connsiteX5" fmla="*/ 621506 w 1632620"/>
                <a:gd name="connsiteY5" fmla="*/ 771524 h 1083110"/>
                <a:gd name="connsiteX6" fmla="*/ 0 w 1632620"/>
                <a:gd name="connsiteY6" fmla="*/ 538161 h 1083110"/>
                <a:gd name="connsiteX0" fmla="*/ 0 w 1638832"/>
                <a:gd name="connsiteY0" fmla="*/ 538161 h 1079262"/>
                <a:gd name="connsiteX1" fmla="*/ 0 w 1638832"/>
                <a:gd name="connsiteY1" fmla="*/ 1066799 h 1079262"/>
                <a:gd name="connsiteX2" fmla="*/ 1626394 w 1638832"/>
                <a:gd name="connsiteY2" fmla="*/ 545305 h 1079262"/>
                <a:gd name="connsiteX3" fmla="*/ 1323974 w 1638832"/>
                <a:gd name="connsiteY3" fmla="*/ 0 h 1079262"/>
                <a:gd name="connsiteX4" fmla="*/ 923925 w 1638832"/>
                <a:gd name="connsiteY4" fmla="*/ 426244 h 1079262"/>
                <a:gd name="connsiteX5" fmla="*/ 621506 w 1638832"/>
                <a:gd name="connsiteY5" fmla="*/ 771524 h 1079262"/>
                <a:gd name="connsiteX6" fmla="*/ 0 w 1638832"/>
                <a:gd name="connsiteY6" fmla="*/ 538161 h 1079262"/>
                <a:gd name="connsiteX0" fmla="*/ 0 w 1629379"/>
                <a:gd name="connsiteY0" fmla="*/ 538161 h 1066897"/>
                <a:gd name="connsiteX1" fmla="*/ 0 w 1629379"/>
                <a:gd name="connsiteY1" fmla="*/ 1066799 h 1066897"/>
                <a:gd name="connsiteX2" fmla="*/ 1616869 w 1629379"/>
                <a:gd name="connsiteY2" fmla="*/ 409574 h 1066897"/>
                <a:gd name="connsiteX3" fmla="*/ 1323974 w 1629379"/>
                <a:gd name="connsiteY3" fmla="*/ 0 h 1066897"/>
                <a:gd name="connsiteX4" fmla="*/ 923925 w 1629379"/>
                <a:gd name="connsiteY4" fmla="*/ 426244 h 1066897"/>
                <a:gd name="connsiteX5" fmla="*/ 621506 w 1629379"/>
                <a:gd name="connsiteY5" fmla="*/ 771524 h 1066897"/>
                <a:gd name="connsiteX6" fmla="*/ 0 w 1629379"/>
                <a:gd name="connsiteY6" fmla="*/ 538161 h 1066897"/>
                <a:gd name="connsiteX0" fmla="*/ 0 w 1620913"/>
                <a:gd name="connsiteY0" fmla="*/ 538161 h 1107877"/>
                <a:gd name="connsiteX1" fmla="*/ 0 w 1620913"/>
                <a:gd name="connsiteY1" fmla="*/ 1066799 h 1107877"/>
                <a:gd name="connsiteX2" fmla="*/ 1616869 w 1620913"/>
                <a:gd name="connsiteY2" fmla="*/ 409574 h 1107877"/>
                <a:gd name="connsiteX3" fmla="*/ 1323974 w 1620913"/>
                <a:gd name="connsiteY3" fmla="*/ 0 h 1107877"/>
                <a:gd name="connsiteX4" fmla="*/ 923925 w 1620913"/>
                <a:gd name="connsiteY4" fmla="*/ 426244 h 1107877"/>
                <a:gd name="connsiteX5" fmla="*/ 621506 w 1620913"/>
                <a:gd name="connsiteY5" fmla="*/ 771524 h 1107877"/>
                <a:gd name="connsiteX6" fmla="*/ 0 w 1620913"/>
                <a:gd name="connsiteY6" fmla="*/ 538161 h 1107877"/>
                <a:gd name="connsiteX0" fmla="*/ 0 w 1620913"/>
                <a:gd name="connsiteY0" fmla="*/ 538161 h 1218265"/>
                <a:gd name="connsiteX1" fmla="*/ 0 w 1620913"/>
                <a:gd name="connsiteY1" fmla="*/ 1066799 h 1218265"/>
                <a:gd name="connsiteX2" fmla="*/ 1616869 w 1620913"/>
                <a:gd name="connsiteY2" fmla="*/ 409574 h 1218265"/>
                <a:gd name="connsiteX3" fmla="*/ 1323974 w 1620913"/>
                <a:gd name="connsiteY3" fmla="*/ 0 h 1218265"/>
                <a:gd name="connsiteX4" fmla="*/ 923925 w 1620913"/>
                <a:gd name="connsiteY4" fmla="*/ 426244 h 1218265"/>
                <a:gd name="connsiteX5" fmla="*/ 621506 w 1620913"/>
                <a:gd name="connsiteY5" fmla="*/ 771524 h 1218265"/>
                <a:gd name="connsiteX6" fmla="*/ 0 w 1620913"/>
                <a:gd name="connsiteY6" fmla="*/ 538161 h 1218265"/>
                <a:gd name="connsiteX0" fmla="*/ 0 w 1620913"/>
                <a:gd name="connsiteY0" fmla="*/ 538161 h 1066799"/>
                <a:gd name="connsiteX1" fmla="*/ 0 w 1620913"/>
                <a:gd name="connsiteY1" fmla="*/ 1066799 h 1066799"/>
                <a:gd name="connsiteX2" fmla="*/ 1616869 w 1620913"/>
                <a:gd name="connsiteY2" fmla="*/ 409574 h 1066799"/>
                <a:gd name="connsiteX3" fmla="*/ 1323974 w 1620913"/>
                <a:gd name="connsiteY3" fmla="*/ 0 h 1066799"/>
                <a:gd name="connsiteX4" fmla="*/ 923925 w 1620913"/>
                <a:gd name="connsiteY4" fmla="*/ 426244 h 1066799"/>
                <a:gd name="connsiteX5" fmla="*/ 621506 w 1620913"/>
                <a:gd name="connsiteY5" fmla="*/ 771524 h 1066799"/>
                <a:gd name="connsiteX6" fmla="*/ 0 w 1620913"/>
                <a:gd name="connsiteY6" fmla="*/ 538161 h 1066799"/>
                <a:gd name="connsiteX0" fmla="*/ 0 w 1620913"/>
                <a:gd name="connsiteY0" fmla="*/ 538161 h 1213299"/>
                <a:gd name="connsiteX1" fmla="*/ 0 w 1620913"/>
                <a:gd name="connsiteY1" fmla="*/ 1066799 h 1213299"/>
                <a:gd name="connsiteX2" fmla="*/ 1616869 w 1620913"/>
                <a:gd name="connsiteY2" fmla="*/ 409574 h 1213299"/>
                <a:gd name="connsiteX3" fmla="*/ 1323974 w 1620913"/>
                <a:gd name="connsiteY3" fmla="*/ 0 h 1213299"/>
                <a:gd name="connsiteX4" fmla="*/ 923925 w 1620913"/>
                <a:gd name="connsiteY4" fmla="*/ 426244 h 1213299"/>
                <a:gd name="connsiteX5" fmla="*/ 621506 w 1620913"/>
                <a:gd name="connsiteY5" fmla="*/ 771524 h 1213299"/>
                <a:gd name="connsiteX6" fmla="*/ 0 w 1620913"/>
                <a:gd name="connsiteY6" fmla="*/ 538161 h 121329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32881"/>
                <a:gd name="connsiteY0" fmla="*/ 538161 h 1232035"/>
                <a:gd name="connsiteX1" fmla="*/ 0 w 1632881"/>
                <a:gd name="connsiteY1" fmla="*/ 1066799 h 1232035"/>
                <a:gd name="connsiteX2" fmla="*/ 1621631 w 1632881"/>
                <a:gd name="connsiteY2" fmla="*/ 523874 h 1232035"/>
                <a:gd name="connsiteX3" fmla="*/ 1323974 w 1632881"/>
                <a:gd name="connsiteY3" fmla="*/ 0 h 1232035"/>
                <a:gd name="connsiteX4" fmla="*/ 923925 w 1632881"/>
                <a:gd name="connsiteY4" fmla="*/ 426244 h 1232035"/>
                <a:gd name="connsiteX5" fmla="*/ 621506 w 1632881"/>
                <a:gd name="connsiteY5" fmla="*/ 771524 h 1232035"/>
                <a:gd name="connsiteX6" fmla="*/ 0 w 1632881"/>
                <a:gd name="connsiteY6" fmla="*/ 538161 h 1232035"/>
                <a:gd name="connsiteX0" fmla="*/ 0 w 1622936"/>
                <a:gd name="connsiteY0" fmla="*/ 538161 h 1236750"/>
                <a:gd name="connsiteX1" fmla="*/ 0 w 1622936"/>
                <a:gd name="connsiteY1" fmla="*/ 1066799 h 1236750"/>
                <a:gd name="connsiteX2" fmla="*/ 1621631 w 1622936"/>
                <a:gd name="connsiteY2" fmla="*/ 523874 h 1236750"/>
                <a:gd name="connsiteX3" fmla="*/ 1323974 w 1622936"/>
                <a:gd name="connsiteY3" fmla="*/ 0 h 1236750"/>
                <a:gd name="connsiteX4" fmla="*/ 923925 w 1622936"/>
                <a:gd name="connsiteY4" fmla="*/ 426244 h 1236750"/>
                <a:gd name="connsiteX5" fmla="*/ 621506 w 1622936"/>
                <a:gd name="connsiteY5" fmla="*/ 771524 h 1236750"/>
                <a:gd name="connsiteX6" fmla="*/ 0 w 1622936"/>
                <a:gd name="connsiteY6" fmla="*/ 538161 h 1236750"/>
                <a:gd name="connsiteX0" fmla="*/ 0 w 1627932"/>
                <a:gd name="connsiteY0" fmla="*/ 538161 h 1227283"/>
                <a:gd name="connsiteX1" fmla="*/ 0 w 1627932"/>
                <a:gd name="connsiteY1" fmla="*/ 1066799 h 1227283"/>
                <a:gd name="connsiteX2" fmla="*/ 1621631 w 1627932"/>
                <a:gd name="connsiteY2" fmla="*/ 523874 h 1227283"/>
                <a:gd name="connsiteX3" fmla="*/ 1323974 w 1627932"/>
                <a:gd name="connsiteY3" fmla="*/ 0 h 1227283"/>
                <a:gd name="connsiteX4" fmla="*/ 923925 w 1627932"/>
                <a:gd name="connsiteY4" fmla="*/ 426244 h 1227283"/>
                <a:gd name="connsiteX5" fmla="*/ 621506 w 1627932"/>
                <a:gd name="connsiteY5" fmla="*/ 771524 h 1227283"/>
                <a:gd name="connsiteX6" fmla="*/ 0 w 1627932"/>
                <a:gd name="connsiteY6" fmla="*/ 538161 h 1227283"/>
                <a:gd name="connsiteX0" fmla="*/ 0 w 1627932"/>
                <a:gd name="connsiteY0" fmla="*/ 538161 h 1066799"/>
                <a:gd name="connsiteX1" fmla="*/ 0 w 1627932"/>
                <a:gd name="connsiteY1" fmla="*/ 1066799 h 1066799"/>
                <a:gd name="connsiteX2" fmla="*/ 1621631 w 1627932"/>
                <a:gd name="connsiteY2" fmla="*/ 523874 h 1066799"/>
                <a:gd name="connsiteX3" fmla="*/ 1323974 w 1627932"/>
                <a:gd name="connsiteY3" fmla="*/ 0 h 1066799"/>
                <a:gd name="connsiteX4" fmla="*/ 923925 w 1627932"/>
                <a:gd name="connsiteY4" fmla="*/ 426244 h 1066799"/>
                <a:gd name="connsiteX5" fmla="*/ 621506 w 1627932"/>
                <a:gd name="connsiteY5" fmla="*/ 771524 h 1066799"/>
                <a:gd name="connsiteX6" fmla="*/ 0 w 1627932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134969"/>
                <a:gd name="connsiteX1" fmla="*/ 0 w 1627647"/>
                <a:gd name="connsiteY1" fmla="*/ 1066799 h 1134969"/>
                <a:gd name="connsiteX2" fmla="*/ 1621631 w 1627647"/>
                <a:gd name="connsiteY2" fmla="*/ 523874 h 1134969"/>
                <a:gd name="connsiteX3" fmla="*/ 1323974 w 1627647"/>
                <a:gd name="connsiteY3" fmla="*/ 0 h 1134969"/>
                <a:gd name="connsiteX4" fmla="*/ 923925 w 1627647"/>
                <a:gd name="connsiteY4" fmla="*/ 426244 h 1134969"/>
                <a:gd name="connsiteX5" fmla="*/ 621506 w 1627647"/>
                <a:gd name="connsiteY5" fmla="*/ 771524 h 1134969"/>
                <a:gd name="connsiteX6" fmla="*/ 0 w 1627647"/>
                <a:gd name="connsiteY6" fmla="*/ 538161 h 1134969"/>
                <a:gd name="connsiteX0" fmla="*/ 0 w 1627647"/>
                <a:gd name="connsiteY0" fmla="*/ 538161 h 1213483"/>
                <a:gd name="connsiteX1" fmla="*/ 0 w 1627647"/>
                <a:gd name="connsiteY1" fmla="*/ 1066799 h 1213483"/>
                <a:gd name="connsiteX2" fmla="*/ 1621631 w 1627647"/>
                <a:gd name="connsiteY2" fmla="*/ 523874 h 1213483"/>
                <a:gd name="connsiteX3" fmla="*/ 1323974 w 1627647"/>
                <a:gd name="connsiteY3" fmla="*/ 0 h 1213483"/>
                <a:gd name="connsiteX4" fmla="*/ 923925 w 1627647"/>
                <a:gd name="connsiteY4" fmla="*/ 426244 h 1213483"/>
                <a:gd name="connsiteX5" fmla="*/ 621506 w 1627647"/>
                <a:gd name="connsiteY5" fmla="*/ 771524 h 1213483"/>
                <a:gd name="connsiteX6" fmla="*/ 0 w 1627647"/>
                <a:gd name="connsiteY6" fmla="*/ 538161 h 1213483"/>
                <a:gd name="connsiteX0" fmla="*/ 0 w 1627647"/>
                <a:gd name="connsiteY0" fmla="*/ 538161 h 1190326"/>
                <a:gd name="connsiteX1" fmla="*/ 0 w 1627647"/>
                <a:gd name="connsiteY1" fmla="*/ 1066799 h 1190326"/>
                <a:gd name="connsiteX2" fmla="*/ 1621631 w 1627647"/>
                <a:gd name="connsiteY2" fmla="*/ 523874 h 1190326"/>
                <a:gd name="connsiteX3" fmla="*/ 1323974 w 1627647"/>
                <a:gd name="connsiteY3" fmla="*/ 0 h 1190326"/>
                <a:gd name="connsiteX4" fmla="*/ 923925 w 1627647"/>
                <a:gd name="connsiteY4" fmla="*/ 426244 h 1190326"/>
                <a:gd name="connsiteX5" fmla="*/ 621506 w 1627647"/>
                <a:gd name="connsiteY5" fmla="*/ 771524 h 1190326"/>
                <a:gd name="connsiteX6" fmla="*/ 0 w 1627647"/>
                <a:gd name="connsiteY6" fmla="*/ 538161 h 1190326"/>
                <a:gd name="connsiteX0" fmla="*/ 0 w 1627647"/>
                <a:gd name="connsiteY0" fmla="*/ 538161 h 1219698"/>
                <a:gd name="connsiteX1" fmla="*/ 0 w 1627647"/>
                <a:gd name="connsiteY1" fmla="*/ 1066799 h 1219698"/>
                <a:gd name="connsiteX2" fmla="*/ 1621631 w 1627647"/>
                <a:gd name="connsiteY2" fmla="*/ 523874 h 1219698"/>
                <a:gd name="connsiteX3" fmla="*/ 1323974 w 1627647"/>
                <a:gd name="connsiteY3" fmla="*/ 0 h 1219698"/>
                <a:gd name="connsiteX4" fmla="*/ 923925 w 1627647"/>
                <a:gd name="connsiteY4" fmla="*/ 426244 h 1219698"/>
                <a:gd name="connsiteX5" fmla="*/ 621506 w 1627647"/>
                <a:gd name="connsiteY5" fmla="*/ 771524 h 1219698"/>
                <a:gd name="connsiteX6" fmla="*/ 0 w 1627647"/>
                <a:gd name="connsiteY6" fmla="*/ 538161 h 1219698"/>
                <a:gd name="connsiteX0" fmla="*/ 0 w 1627647"/>
                <a:gd name="connsiteY0" fmla="*/ 538161 h 1232307"/>
                <a:gd name="connsiteX1" fmla="*/ 0 w 1627647"/>
                <a:gd name="connsiteY1" fmla="*/ 1066799 h 1232307"/>
                <a:gd name="connsiteX2" fmla="*/ 1621631 w 1627647"/>
                <a:gd name="connsiteY2" fmla="*/ 523874 h 1232307"/>
                <a:gd name="connsiteX3" fmla="*/ 1323974 w 1627647"/>
                <a:gd name="connsiteY3" fmla="*/ 0 h 1232307"/>
                <a:gd name="connsiteX4" fmla="*/ 923925 w 1627647"/>
                <a:gd name="connsiteY4" fmla="*/ 426244 h 1232307"/>
                <a:gd name="connsiteX5" fmla="*/ 621506 w 1627647"/>
                <a:gd name="connsiteY5" fmla="*/ 771524 h 1232307"/>
                <a:gd name="connsiteX6" fmla="*/ 0 w 1627647"/>
                <a:gd name="connsiteY6" fmla="*/ 538161 h 1232307"/>
                <a:gd name="connsiteX0" fmla="*/ 0 w 1627647"/>
                <a:gd name="connsiteY0" fmla="*/ 538161 h 1217230"/>
                <a:gd name="connsiteX1" fmla="*/ 0 w 1627647"/>
                <a:gd name="connsiteY1" fmla="*/ 1066799 h 1217230"/>
                <a:gd name="connsiteX2" fmla="*/ 1621631 w 1627647"/>
                <a:gd name="connsiteY2" fmla="*/ 523874 h 1217230"/>
                <a:gd name="connsiteX3" fmla="*/ 1323974 w 1627647"/>
                <a:gd name="connsiteY3" fmla="*/ 0 h 1217230"/>
                <a:gd name="connsiteX4" fmla="*/ 923925 w 1627647"/>
                <a:gd name="connsiteY4" fmla="*/ 426244 h 1217230"/>
                <a:gd name="connsiteX5" fmla="*/ 621506 w 1627647"/>
                <a:gd name="connsiteY5" fmla="*/ 771524 h 1217230"/>
                <a:gd name="connsiteX6" fmla="*/ 0 w 1627647"/>
                <a:gd name="connsiteY6" fmla="*/ 538161 h 1217230"/>
                <a:gd name="connsiteX0" fmla="*/ 0 w 1627647"/>
                <a:gd name="connsiteY0" fmla="*/ 538161 h 1188997"/>
                <a:gd name="connsiteX1" fmla="*/ 0 w 1627647"/>
                <a:gd name="connsiteY1" fmla="*/ 1066799 h 1188997"/>
                <a:gd name="connsiteX2" fmla="*/ 1621631 w 1627647"/>
                <a:gd name="connsiteY2" fmla="*/ 523874 h 1188997"/>
                <a:gd name="connsiteX3" fmla="*/ 1323974 w 1627647"/>
                <a:gd name="connsiteY3" fmla="*/ 0 h 1188997"/>
                <a:gd name="connsiteX4" fmla="*/ 923925 w 1627647"/>
                <a:gd name="connsiteY4" fmla="*/ 426244 h 1188997"/>
                <a:gd name="connsiteX5" fmla="*/ 621506 w 1627647"/>
                <a:gd name="connsiteY5" fmla="*/ 771524 h 1188997"/>
                <a:gd name="connsiteX6" fmla="*/ 0 w 1627647"/>
                <a:gd name="connsiteY6" fmla="*/ 538161 h 1188997"/>
                <a:gd name="connsiteX0" fmla="*/ 0 w 1627647"/>
                <a:gd name="connsiteY0" fmla="*/ 538161 h 1216261"/>
                <a:gd name="connsiteX1" fmla="*/ 0 w 1627647"/>
                <a:gd name="connsiteY1" fmla="*/ 1066799 h 1216261"/>
                <a:gd name="connsiteX2" fmla="*/ 1621631 w 1627647"/>
                <a:gd name="connsiteY2" fmla="*/ 523874 h 1216261"/>
                <a:gd name="connsiteX3" fmla="*/ 1323974 w 1627647"/>
                <a:gd name="connsiteY3" fmla="*/ 0 h 1216261"/>
                <a:gd name="connsiteX4" fmla="*/ 923925 w 1627647"/>
                <a:gd name="connsiteY4" fmla="*/ 426244 h 1216261"/>
                <a:gd name="connsiteX5" fmla="*/ 621506 w 1627647"/>
                <a:gd name="connsiteY5" fmla="*/ 771524 h 1216261"/>
                <a:gd name="connsiteX6" fmla="*/ 0 w 1627647"/>
                <a:gd name="connsiteY6" fmla="*/ 538161 h 1216261"/>
                <a:gd name="connsiteX0" fmla="*/ 0 w 1627647"/>
                <a:gd name="connsiteY0" fmla="*/ 538161 h 1206398"/>
                <a:gd name="connsiteX1" fmla="*/ 0 w 1627647"/>
                <a:gd name="connsiteY1" fmla="*/ 1066799 h 1206398"/>
                <a:gd name="connsiteX2" fmla="*/ 1621631 w 1627647"/>
                <a:gd name="connsiteY2" fmla="*/ 523874 h 1206398"/>
                <a:gd name="connsiteX3" fmla="*/ 1323974 w 1627647"/>
                <a:gd name="connsiteY3" fmla="*/ 0 h 1206398"/>
                <a:gd name="connsiteX4" fmla="*/ 923925 w 1627647"/>
                <a:gd name="connsiteY4" fmla="*/ 426244 h 1206398"/>
                <a:gd name="connsiteX5" fmla="*/ 621506 w 1627647"/>
                <a:gd name="connsiteY5" fmla="*/ 771524 h 1206398"/>
                <a:gd name="connsiteX6" fmla="*/ 0 w 1627647"/>
                <a:gd name="connsiteY6" fmla="*/ 538161 h 1206398"/>
                <a:gd name="connsiteX0" fmla="*/ 0 w 1627647"/>
                <a:gd name="connsiteY0" fmla="*/ 538161 h 1218880"/>
                <a:gd name="connsiteX1" fmla="*/ 0 w 1627647"/>
                <a:gd name="connsiteY1" fmla="*/ 1066799 h 1218880"/>
                <a:gd name="connsiteX2" fmla="*/ 1621631 w 1627647"/>
                <a:gd name="connsiteY2" fmla="*/ 523874 h 1218880"/>
                <a:gd name="connsiteX3" fmla="*/ 1323974 w 1627647"/>
                <a:gd name="connsiteY3" fmla="*/ 0 h 1218880"/>
                <a:gd name="connsiteX4" fmla="*/ 923925 w 1627647"/>
                <a:gd name="connsiteY4" fmla="*/ 426244 h 1218880"/>
                <a:gd name="connsiteX5" fmla="*/ 621506 w 1627647"/>
                <a:gd name="connsiteY5" fmla="*/ 771524 h 1218880"/>
                <a:gd name="connsiteX6" fmla="*/ 0 w 1627647"/>
                <a:gd name="connsiteY6" fmla="*/ 538161 h 1218880"/>
                <a:gd name="connsiteX0" fmla="*/ 0 w 1627647"/>
                <a:gd name="connsiteY0" fmla="*/ 538161 h 1211596"/>
                <a:gd name="connsiteX1" fmla="*/ 0 w 1627647"/>
                <a:gd name="connsiteY1" fmla="*/ 1066799 h 1211596"/>
                <a:gd name="connsiteX2" fmla="*/ 1621631 w 1627647"/>
                <a:gd name="connsiteY2" fmla="*/ 523874 h 1211596"/>
                <a:gd name="connsiteX3" fmla="*/ 1323974 w 1627647"/>
                <a:gd name="connsiteY3" fmla="*/ 0 h 1211596"/>
                <a:gd name="connsiteX4" fmla="*/ 923925 w 1627647"/>
                <a:gd name="connsiteY4" fmla="*/ 426244 h 1211596"/>
                <a:gd name="connsiteX5" fmla="*/ 621506 w 1627647"/>
                <a:gd name="connsiteY5" fmla="*/ 771524 h 1211596"/>
                <a:gd name="connsiteX6" fmla="*/ 0 w 1627647"/>
                <a:gd name="connsiteY6" fmla="*/ 538161 h 1211596"/>
                <a:gd name="connsiteX0" fmla="*/ 0 w 1627647"/>
                <a:gd name="connsiteY0" fmla="*/ 538161 h 1217962"/>
                <a:gd name="connsiteX1" fmla="*/ 0 w 1627647"/>
                <a:gd name="connsiteY1" fmla="*/ 1066799 h 1217962"/>
                <a:gd name="connsiteX2" fmla="*/ 1621631 w 1627647"/>
                <a:gd name="connsiteY2" fmla="*/ 523874 h 1217962"/>
                <a:gd name="connsiteX3" fmla="*/ 1323974 w 1627647"/>
                <a:gd name="connsiteY3" fmla="*/ 0 h 1217962"/>
                <a:gd name="connsiteX4" fmla="*/ 923925 w 1627647"/>
                <a:gd name="connsiteY4" fmla="*/ 426244 h 1217962"/>
                <a:gd name="connsiteX5" fmla="*/ 621506 w 1627647"/>
                <a:gd name="connsiteY5" fmla="*/ 771524 h 1217962"/>
                <a:gd name="connsiteX6" fmla="*/ 0 w 1627647"/>
                <a:gd name="connsiteY6" fmla="*/ 538161 h 1217962"/>
                <a:gd name="connsiteX0" fmla="*/ 0 w 1627647"/>
                <a:gd name="connsiteY0" fmla="*/ 538161 h 1218399"/>
                <a:gd name="connsiteX1" fmla="*/ 0 w 1627647"/>
                <a:gd name="connsiteY1" fmla="*/ 1066799 h 1218399"/>
                <a:gd name="connsiteX2" fmla="*/ 1621631 w 1627647"/>
                <a:gd name="connsiteY2" fmla="*/ 523874 h 1218399"/>
                <a:gd name="connsiteX3" fmla="*/ 1323974 w 1627647"/>
                <a:gd name="connsiteY3" fmla="*/ 0 h 1218399"/>
                <a:gd name="connsiteX4" fmla="*/ 923925 w 1627647"/>
                <a:gd name="connsiteY4" fmla="*/ 426244 h 1218399"/>
                <a:gd name="connsiteX5" fmla="*/ 621506 w 1627647"/>
                <a:gd name="connsiteY5" fmla="*/ 771524 h 1218399"/>
                <a:gd name="connsiteX6" fmla="*/ 0 w 1627647"/>
                <a:gd name="connsiteY6" fmla="*/ 538161 h 121839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23925 w 1627647"/>
                <a:gd name="connsiteY4" fmla="*/ 426244 h 1212839"/>
                <a:gd name="connsiteX5" fmla="*/ 621506 w 1627647"/>
                <a:gd name="connsiteY5" fmla="*/ 771524 h 1212839"/>
                <a:gd name="connsiteX6" fmla="*/ 0 w 1627647"/>
                <a:gd name="connsiteY6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1078707 w 1627647"/>
                <a:gd name="connsiteY4" fmla="*/ 257177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595313 w 1627647"/>
                <a:gd name="connsiteY4" fmla="*/ 185739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73932 w 1627647"/>
                <a:gd name="connsiteY4" fmla="*/ 85727 h 1212839"/>
                <a:gd name="connsiteX5" fmla="*/ 595313 w 1627647"/>
                <a:gd name="connsiteY5" fmla="*/ 185739 h 1212839"/>
                <a:gd name="connsiteX6" fmla="*/ 923925 w 1627647"/>
                <a:gd name="connsiteY6" fmla="*/ 426244 h 1212839"/>
                <a:gd name="connsiteX7" fmla="*/ 621506 w 1627647"/>
                <a:gd name="connsiteY7" fmla="*/ 771524 h 1212839"/>
                <a:gd name="connsiteX8" fmla="*/ 0 w 1627647"/>
                <a:gd name="connsiteY8" fmla="*/ 538161 h 1212839"/>
                <a:gd name="connsiteX0" fmla="*/ 0 w 1627647"/>
                <a:gd name="connsiteY0" fmla="*/ 745328 h 1420006"/>
                <a:gd name="connsiteX1" fmla="*/ 0 w 1627647"/>
                <a:gd name="connsiteY1" fmla="*/ 1273966 h 1420006"/>
                <a:gd name="connsiteX2" fmla="*/ 1621631 w 1627647"/>
                <a:gd name="connsiteY2" fmla="*/ 731041 h 1420006"/>
                <a:gd name="connsiteX3" fmla="*/ 1323974 w 1627647"/>
                <a:gd name="connsiteY3" fmla="*/ 207167 h 1420006"/>
                <a:gd name="connsiteX4" fmla="*/ 835820 w 1627647"/>
                <a:gd name="connsiteY4" fmla="*/ 0 h 1420006"/>
                <a:gd name="connsiteX5" fmla="*/ 595313 w 1627647"/>
                <a:gd name="connsiteY5" fmla="*/ 392906 h 1420006"/>
                <a:gd name="connsiteX6" fmla="*/ 923925 w 1627647"/>
                <a:gd name="connsiteY6" fmla="*/ 633411 h 1420006"/>
                <a:gd name="connsiteX7" fmla="*/ 621506 w 1627647"/>
                <a:gd name="connsiteY7" fmla="*/ 978691 h 1420006"/>
                <a:gd name="connsiteX8" fmla="*/ 0 w 1627647"/>
                <a:gd name="connsiteY8" fmla="*/ 745328 h 1420006"/>
                <a:gd name="connsiteX0" fmla="*/ 0 w 1591281"/>
                <a:gd name="connsiteY0" fmla="*/ 745328 h 1469663"/>
                <a:gd name="connsiteX1" fmla="*/ 0 w 1591281"/>
                <a:gd name="connsiteY1" fmla="*/ 1273966 h 1469663"/>
                <a:gd name="connsiteX2" fmla="*/ 1574006 w 1591281"/>
                <a:gd name="connsiteY2" fmla="*/ 928685 h 1469663"/>
                <a:gd name="connsiteX3" fmla="*/ 1323974 w 1591281"/>
                <a:gd name="connsiteY3" fmla="*/ 207167 h 1469663"/>
                <a:gd name="connsiteX4" fmla="*/ 835820 w 1591281"/>
                <a:gd name="connsiteY4" fmla="*/ 0 h 1469663"/>
                <a:gd name="connsiteX5" fmla="*/ 595313 w 1591281"/>
                <a:gd name="connsiteY5" fmla="*/ 392906 h 1469663"/>
                <a:gd name="connsiteX6" fmla="*/ 923925 w 1591281"/>
                <a:gd name="connsiteY6" fmla="*/ 633411 h 1469663"/>
                <a:gd name="connsiteX7" fmla="*/ 621506 w 1591281"/>
                <a:gd name="connsiteY7" fmla="*/ 978691 h 1469663"/>
                <a:gd name="connsiteX8" fmla="*/ 0 w 1591281"/>
                <a:gd name="connsiteY8" fmla="*/ 745328 h 1469663"/>
                <a:gd name="connsiteX0" fmla="*/ 0 w 1591281"/>
                <a:gd name="connsiteY0" fmla="*/ 745328 h 1425021"/>
                <a:gd name="connsiteX1" fmla="*/ 0 w 1591281"/>
                <a:gd name="connsiteY1" fmla="*/ 1273966 h 1425021"/>
                <a:gd name="connsiteX2" fmla="*/ 1574006 w 1591281"/>
                <a:gd name="connsiteY2" fmla="*/ 928685 h 1425021"/>
                <a:gd name="connsiteX3" fmla="*/ 1323974 w 1591281"/>
                <a:gd name="connsiteY3" fmla="*/ 207167 h 1425021"/>
                <a:gd name="connsiteX4" fmla="*/ 835820 w 1591281"/>
                <a:gd name="connsiteY4" fmla="*/ 0 h 1425021"/>
                <a:gd name="connsiteX5" fmla="*/ 595313 w 1591281"/>
                <a:gd name="connsiteY5" fmla="*/ 392906 h 1425021"/>
                <a:gd name="connsiteX6" fmla="*/ 923925 w 1591281"/>
                <a:gd name="connsiteY6" fmla="*/ 633411 h 1425021"/>
                <a:gd name="connsiteX7" fmla="*/ 621506 w 1591281"/>
                <a:gd name="connsiteY7" fmla="*/ 978691 h 1425021"/>
                <a:gd name="connsiteX8" fmla="*/ 0 w 1591281"/>
                <a:gd name="connsiteY8" fmla="*/ 745328 h 1425021"/>
                <a:gd name="connsiteX0" fmla="*/ 0 w 1622856"/>
                <a:gd name="connsiteY0" fmla="*/ 745328 h 1425021"/>
                <a:gd name="connsiteX1" fmla="*/ 0 w 1622856"/>
                <a:gd name="connsiteY1" fmla="*/ 1273966 h 1425021"/>
                <a:gd name="connsiteX2" fmla="*/ 1574006 w 1622856"/>
                <a:gd name="connsiteY2" fmla="*/ 928685 h 1425021"/>
                <a:gd name="connsiteX3" fmla="*/ 1323974 w 1622856"/>
                <a:gd name="connsiteY3" fmla="*/ 207167 h 1425021"/>
                <a:gd name="connsiteX4" fmla="*/ 835820 w 1622856"/>
                <a:gd name="connsiteY4" fmla="*/ 0 h 1425021"/>
                <a:gd name="connsiteX5" fmla="*/ 595313 w 1622856"/>
                <a:gd name="connsiteY5" fmla="*/ 392906 h 1425021"/>
                <a:gd name="connsiteX6" fmla="*/ 923925 w 1622856"/>
                <a:gd name="connsiteY6" fmla="*/ 633411 h 1425021"/>
                <a:gd name="connsiteX7" fmla="*/ 621506 w 1622856"/>
                <a:gd name="connsiteY7" fmla="*/ 978691 h 1425021"/>
                <a:gd name="connsiteX8" fmla="*/ 0 w 1622856"/>
                <a:gd name="connsiteY8" fmla="*/ 745328 h 1425021"/>
                <a:gd name="connsiteX0" fmla="*/ 0 w 1608710"/>
                <a:gd name="connsiteY0" fmla="*/ 745328 h 1425021"/>
                <a:gd name="connsiteX1" fmla="*/ 0 w 1608710"/>
                <a:gd name="connsiteY1" fmla="*/ 1273966 h 1425021"/>
                <a:gd name="connsiteX2" fmla="*/ 1574006 w 1608710"/>
                <a:gd name="connsiteY2" fmla="*/ 928685 h 1425021"/>
                <a:gd name="connsiteX3" fmla="*/ 1264443 w 1608710"/>
                <a:gd name="connsiteY3" fmla="*/ 166686 h 1425021"/>
                <a:gd name="connsiteX4" fmla="*/ 835820 w 1608710"/>
                <a:gd name="connsiteY4" fmla="*/ 0 h 1425021"/>
                <a:gd name="connsiteX5" fmla="*/ 595313 w 1608710"/>
                <a:gd name="connsiteY5" fmla="*/ 392906 h 1425021"/>
                <a:gd name="connsiteX6" fmla="*/ 923925 w 1608710"/>
                <a:gd name="connsiteY6" fmla="*/ 633411 h 1425021"/>
                <a:gd name="connsiteX7" fmla="*/ 621506 w 1608710"/>
                <a:gd name="connsiteY7" fmla="*/ 978691 h 1425021"/>
                <a:gd name="connsiteX8" fmla="*/ 0 w 1608710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709613 w 1623138"/>
                <a:gd name="connsiteY5" fmla="*/ 207169 h 1425021"/>
                <a:gd name="connsiteX6" fmla="*/ 595313 w 1623138"/>
                <a:gd name="connsiteY6" fmla="*/ 392906 h 1425021"/>
                <a:gd name="connsiteX7" fmla="*/ 923925 w 1623138"/>
                <a:gd name="connsiteY7" fmla="*/ 633411 h 1425021"/>
                <a:gd name="connsiteX8" fmla="*/ 621506 w 1623138"/>
                <a:gd name="connsiteY8" fmla="*/ 978691 h 1425021"/>
                <a:gd name="connsiteX9" fmla="*/ 0 w 1623138"/>
                <a:gd name="connsiteY9" fmla="*/ 745328 h 1425021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421482 w 1623138"/>
                <a:gd name="connsiteY5" fmla="*/ 0 h 1477409"/>
                <a:gd name="connsiteX6" fmla="*/ 595313 w 1623138"/>
                <a:gd name="connsiteY6" fmla="*/ 445294 h 1477409"/>
                <a:gd name="connsiteX7" fmla="*/ 923925 w 1623138"/>
                <a:gd name="connsiteY7" fmla="*/ 685799 h 1477409"/>
                <a:gd name="connsiteX8" fmla="*/ 621506 w 1623138"/>
                <a:gd name="connsiteY8" fmla="*/ 1031079 h 1477409"/>
                <a:gd name="connsiteX9" fmla="*/ 0 w 1623138"/>
                <a:gd name="connsiteY9" fmla="*/ 797716 h 1477409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654844 w 1623138"/>
                <a:gd name="connsiteY5" fmla="*/ 26194 h 1477409"/>
                <a:gd name="connsiteX6" fmla="*/ 421482 w 1623138"/>
                <a:gd name="connsiteY6" fmla="*/ 0 h 1477409"/>
                <a:gd name="connsiteX7" fmla="*/ 595313 w 1623138"/>
                <a:gd name="connsiteY7" fmla="*/ 445294 h 1477409"/>
                <a:gd name="connsiteX8" fmla="*/ 923925 w 1623138"/>
                <a:gd name="connsiteY8" fmla="*/ 685799 h 1477409"/>
                <a:gd name="connsiteX9" fmla="*/ 621506 w 1623138"/>
                <a:gd name="connsiteY9" fmla="*/ 1031079 h 1477409"/>
                <a:gd name="connsiteX10" fmla="*/ 0 w 1623138"/>
                <a:gd name="connsiteY10" fmla="*/ 797716 h 1477409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652572"/>
                <a:gd name="connsiteX1" fmla="*/ 0 w 1623138"/>
                <a:gd name="connsiteY1" fmla="*/ 1647822 h 1652572"/>
                <a:gd name="connsiteX2" fmla="*/ 1574006 w 1623138"/>
                <a:gd name="connsiteY2" fmla="*/ 1302541 h 1652572"/>
                <a:gd name="connsiteX3" fmla="*/ 1264443 w 1623138"/>
                <a:gd name="connsiteY3" fmla="*/ 540542 h 1652572"/>
                <a:gd name="connsiteX4" fmla="*/ 835820 w 1623138"/>
                <a:gd name="connsiteY4" fmla="*/ 373856 h 1652572"/>
                <a:gd name="connsiteX5" fmla="*/ 807244 w 1623138"/>
                <a:gd name="connsiteY5" fmla="*/ 0 h 1652572"/>
                <a:gd name="connsiteX6" fmla="*/ 421482 w 1623138"/>
                <a:gd name="connsiteY6" fmla="*/ 321468 h 1652572"/>
                <a:gd name="connsiteX7" fmla="*/ 595313 w 1623138"/>
                <a:gd name="connsiteY7" fmla="*/ 766762 h 1652572"/>
                <a:gd name="connsiteX8" fmla="*/ 923925 w 1623138"/>
                <a:gd name="connsiteY8" fmla="*/ 1007267 h 1652572"/>
                <a:gd name="connsiteX9" fmla="*/ 621506 w 1623138"/>
                <a:gd name="connsiteY9" fmla="*/ 1352547 h 1652572"/>
                <a:gd name="connsiteX10" fmla="*/ 0 w 1623138"/>
                <a:gd name="connsiteY10" fmla="*/ 1119184 h 1652572"/>
                <a:gd name="connsiteX0" fmla="*/ 0 w 1627271"/>
                <a:gd name="connsiteY0" fmla="*/ 1119184 h 1712926"/>
                <a:gd name="connsiteX1" fmla="*/ 0 w 1627271"/>
                <a:gd name="connsiteY1" fmla="*/ 1647822 h 1712926"/>
                <a:gd name="connsiteX2" fmla="*/ 1574006 w 1627271"/>
                <a:gd name="connsiteY2" fmla="*/ 1302541 h 1712926"/>
                <a:gd name="connsiteX3" fmla="*/ 1264443 w 1627271"/>
                <a:gd name="connsiteY3" fmla="*/ 540542 h 1712926"/>
                <a:gd name="connsiteX4" fmla="*/ 835820 w 1627271"/>
                <a:gd name="connsiteY4" fmla="*/ 373856 h 1712926"/>
                <a:gd name="connsiteX5" fmla="*/ 807244 w 1627271"/>
                <a:gd name="connsiteY5" fmla="*/ 0 h 1712926"/>
                <a:gd name="connsiteX6" fmla="*/ 421482 w 1627271"/>
                <a:gd name="connsiteY6" fmla="*/ 321468 h 1712926"/>
                <a:gd name="connsiteX7" fmla="*/ 595313 w 1627271"/>
                <a:gd name="connsiteY7" fmla="*/ 766762 h 1712926"/>
                <a:gd name="connsiteX8" fmla="*/ 923925 w 1627271"/>
                <a:gd name="connsiteY8" fmla="*/ 1007267 h 1712926"/>
                <a:gd name="connsiteX9" fmla="*/ 621506 w 1627271"/>
                <a:gd name="connsiteY9" fmla="*/ 1352547 h 1712926"/>
                <a:gd name="connsiteX10" fmla="*/ 0 w 1627271"/>
                <a:gd name="connsiteY10" fmla="*/ 1119184 h 1712926"/>
                <a:gd name="connsiteX0" fmla="*/ 0 w 1627271"/>
                <a:gd name="connsiteY0" fmla="*/ 1119184 h 1797816"/>
                <a:gd name="connsiteX1" fmla="*/ 0 w 1627271"/>
                <a:gd name="connsiteY1" fmla="*/ 1647822 h 1797816"/>
                <a:gd name="connsiteX2" fmla="*/ 1574006 w 1627271"/>
                <a:gd name="connsiteY2" fmla="*/ 1302541 h 1797816"/>
                <a:gd name="connsiteX3" fmla="*/ 1264443 w 1627271"/>
                <a:gd name="connsiteY3" fmla="*/ 540542 h 1797816"/>
                <a:gd name="connsiteX4" fmla="*/ 835820 w 1627271"/>
                <a:gd name="connsiteY4" fmla="*/ 373856 h 1797816"/>
                <a:gd name="connsiteX5" fmla="*/ 807244 w 1627271"/>
                <a:gd name="connsiteY5" fmla="*/ 0 h 1797816"/>
                <a:gd name="connsiteX6" fmla="*/ 421482 w 1627271"/>
                <a:gd name="connsiteY6" fmla="*/ 321468 h 1797816"/>
                <a:gd name="connsiteX7" fmla="*/ 595313 w 1627271"/>
                <a:gd name="connsiteY7" fmla="*/ 766762 h 1797816"/>
                <a:gd name="connsiteX8" fmla="*/ 923925 w 1627271"/>
                <a:gd name="connsiteY8" fmla="*/ 1007267 h 1797816"/>
                <a:gd name="connsiteX9" fmla="*/ 621506 w 1627271"/>
                <a:gd name="connsiteY9" fmla="*/ 1352547 h 1797816"/>
                <a:gd name="connsiteX10" fmla="*/ 0 w 1627271"/>
                <a:gd name="connsiteY10" fmla="*/ 1119184 h 1797816"/>
                <a:gd name="connsiteX0" fmla="*/ 0 w 1622231"/>
                <a:gd name="connsiteY0" fmla="*/ 1119184 h 1773253"/>
                <a:gd name="connsiteX1" fmla="*/ 0 w 1622231"/>
                <a:gd name="connsiteY1" fmla="*/ 1647822 h 1773253"/>
                <a:gd name="connsiteX2" fmla="*/ 1574006 w 1622231"/>
                <a:gd name="connsiteY2" fmla="*/ 1302541 h 1773253"/>
                <a:gd name="connsiteX3" fmla="*/ 1264443 w 1622231"/>
                <a:gd name="connsiteY3" fmla="*/ 540542 h 1773253"/>
                <a:gd name="connsiteX4" fmla="*/ 835820 w 1622231"/>
                <a:gd name="connsiteY4" fmla="*/ 373856 h 1773253"/>
                <a:gd name="connsiteX5" fmla="*/ 807244 w 1622231"/>
                <a:gd name="connsiteY5" fmla="*/ 0 h 1773253"/>
                <a:gd name="connsiteX6" fmla="*/ 421482 w 1622231"/>
                <a:gd name="connsiteY6" fmla="*/ 321468 h 1773253"/>
                <a:gd name="connsiteX7" fmla="*/ 595313 w 1622231"/>
                <a:gd name="connsiteY7" fmla="*/ 766762 h 1773253"/>
                <a:gd name="connsiteX8" fmla="*/ 923925 w 1622231"/>
                <a:gd name="connsiteY8" fmla="*/ 1007267 h 1773253"/>
                <a:gd name="connsiteX9" fmla="*/ 621506 w 1622231"/>
                <a:gd name="connsiteY9" fmla="*/ 1352547 h 1773253"/>
                <a:gd name="connsiteX10" fmla="*/ 0 w 1622231"/>
                <a:gd name="connsiteY10" fmla="*/ 1119184 h 1773253"/>
                <a:gd name="connsiteX0" fmla="*/ 0 w 1622231"/>
                <a:gd name="connsiteY0" fmla="*/ 1119184 h 1800701"/>
                <a:gd name="connsiteX1" fmla="*/ 0 w 1622231"/>
                <a:gd name="connsiteY1" fmla="*/ 1647822 h 1800701"/>
                <a:gd name="connsiteX2" fmla="*/ 1574006 w 1622231"/>
                <a:gd name="connsiteY2" fmla="*/ 1302541 h 1800701"/>
                <a:gd name="connsiteX3" fmla="*/ 1264443 w 1622231"/>
                <a:gd name="connsiteY3" fmla="*/ 540542 h 1800701"/>
                <a:gd name="connsiteX4" fmla="*/ 835820 w 1622231"/>
                <a:gd name="connsiteY4" fmla="*/ 373856 h 1800701"/>
                <a:gd name="connsiteX5" fmla="*/ 807244 w 1622231"/>
                <a:gd name="connsiteY5" fmla="*/ 0 h 1800701"/>
                <a:gd name="connsiteX6" fmla="*/ 421482 w 1622231"/>
                <a:gd name="connsiteY6" fmla="*/ 321468 h 1800701"/>
                <a:gd name="connsiteX7" fmla="*/ 595313 w 1622231"/>
                <a:gd name="connsiteY7" fmla="*/ 766762 h 1800701"/>
                <a:gd name="connsiteX8" fmla="*/ 923925 w 1622231"/>
                <a:gd name="connsiteY8" fmla="*/ 1007267 h 1800701"/>
                <a:gd name="connsiteX9" fmla="*/ 621506 w 1622231"/>
                <a:gd name="connsiteY9" fmla="*/ 1352547 h 1800701"/>
                <a:gd name="connsiteX10" fmla="*/ 0 w 1622231"/>
                <a:gd name="connsiteY10" fmla="*/ 1119184 h 1800701"/>
                <a:gd name="connsiteX0" fmla="*/ 0 w 1552023"/>
                <a:gd name="connsiteY0" fmla="*/ 1119184 h 1859749"/>
                <a:gd name="connsiteX1" fmla="*/ 0 w 1552023"/>
                <a:gd name="connsiteY1" fmla="*/ 1647822 h 1859749"/>
                <a:gd name="connsiteX2" fmla="*/ 1462087 w 1552023"/>
                <a:gd name="connsiteY2" fmla="*/ 1469229 h 1859749"/>
                <a:gd name="connsiteX3" fmla="*/ 1264443 w 1552023"/>
                <a:gd name="connsiteY3" fmla="*/ 540542 h 1859749"/>
                <a:gd name="connsiteX4" fmla="*/ 835820 w 1552023"/>
                <a:gd name="connsiteY4" fmla="*/ 373856 h 1859749"/>
                <a:gd name="connsiteX5" fmla="*/ 807244 w 1552023"/>
                <a:gd name="connsiteY5" fmla="*/ 0 h 1859749"/>
                <a:gd name="connsiteX6" fmla="*/ 421482 w 1552023"/>
                <a:gd name="connsiteY6" fmla="*/ 321468 h 1859749"/>
                <a:gd name="connsiteX7" fmla="*/ 595313 w 1552023"/>
                <a:gd name="connsiteY7" fmla="*/ 766762 h 1859749"/>
                <a:gd name="connsiteX8" fmla="*/ 923925 w 1552023"/>
                <a:gd name="connsiteY8" fmla="*/ 1007267 h 1859749"/>
                <a:gd name="connsiteX9" fmla="*/ 621506 w 1552023"/>
                <a:gd name="connsiteY9" fmla="*/ 1352547 h 1859749"/>
                <a:gd name="connsiteX10" fmla="*/ 0 w 1552023"/>
                <a:gd name="connsiteY10" fmla="*/ 1119184 h 1859749"/>
                <a:gd name="connsiteX0" fmla="*/ 0 w 1571973"/>
                <a:gd name="connsiteY0" fmla="*/ 1119184 h 1800114"/>
                <a:gd name="connsiteX1" fmla="*/ 0 w 1571973"/>
                <a:gd name="connsiteY1" fmla="*/ 1647822 h 1800114"/>
                <a:gd name="connsiteX2" fmla="*/ 1462087 w 1571973"/>
                <a:gd name="connsiteY2" fmla="*/ 1469229 h 1800114"/>
                <a:gd name="connsiteX3" fmla="*/ 1264443 w 1571973"/>
                <a:gd name="connsiteY3" fmla="*/ 540542 h 1800114"/>
                <a:gd name="connsiteX4" fmla="*/ 835820 w 1571973"/>
                <a:gd name="connsiteY4" fmla="*/ 373856 h 1800114"/>
                <a:gd name="connsiteX5" fmla="*/ 807244 w 1571973"/>
                <a:gd name="connsiteY5" fmla="*/ 0 h 1800114"/>
                <a:gd name="connsiteX6" fmla="*/ 421482 w 1571973"/>
                <a:gd name="connsiteY6" fmla="*/ 321468 h 1800114"/>
                <a:gd name="connsiteX7" fmla="*/ 595313 w 1571973"/>
                <a:gd name="connsiteY7" fmla="*/ 766762 h 1800114"/>
                <a:gd name="connsiteX8" fmla="*/ 923925 w 1571973"/>
                <a:gd name="connsiteY8" fmla="*/ 1007267 h 1800114"/>
                <a:gd name="connsiteX9" fmla="*/ 621506 w 1571973"/>
                <a:gd name="connsiteY9" fmla="*/ 1352547 h 1800114"/>
                <a:gd name="connsiteX10" fmla="*/ 0 w 1571973"/>
                <a:gd name="connsiteY10" fmla="*/ 1119184 h 1800114"/>
                <a:gd name="connsiteX0" fmla="*/ 0 w 1620477"/>
                <a:gd name="connsiteY0" fmla="*/ 1119184 h 1800815"/>
                <a:gd name="connsiteX1" fmla="*/ 0 w 1620477"/>
                <a:gd name="connsiteY1" fmla="*/ 1647822 h 1800815"/>
                <a:gd name="connsiteX2" fmla="*/ 1462087 w 1620477"/>
                <a:gd name="connsiteY2" fmla="*/ 1469229 h 1800815"/>
                <a:gd name="connsiteX3" fmla="*/ 1264443 w 1620477"/>
                <a:gd name="connsiteY3" fmla="*/ 540542 h 1800815"/>
                <a:gd name="connsiteX4" fmla="*/ 835820 w 1620477"/>
                <a:gd name="connsiteY4" fmla="*/ 373856 h 1800815"/>
                <a:gd name="connsiteX5" fmla="*/ 807244 w 1620477"/>
                <a:gd name="connsiteY5" fmla="*/ 0 h 1800815"/>
                <a:gd name="connsiteX6" fmla="*/ 421482 w 1620477"/>
                <a:gd name="connsiteY6" fmla="*/ 321468 h 1800815"/>
                <a:gd name="connsiteX7" fmla="*/ 595313 w 1620477"/>
                <a:gd name="connsiteY7" fmla="*/ 766762 h 1800815"/>
                <a:gd name="connsiteX8" fmla="*/ 923925 w 1620477"/>
                <a:gd name="connsiteY8" fmla="*/ 1007267 h 1800815"/>
                <a:gd name="connsiteX9" fmla="*/ 621506 w 1620477"/>
                <a:gd name="connsiteY9" fmla="*/ 1352547 h 1800815"/>
                <a:gd name="connsiteX10" fmla="*/ 0 w 1620477"/>
                <a:gd name="connsiteY10" fmla="*/ 1119184 h 1800815"/>
                <a:gd name="connsiteX0" fmla="*/ 0 w 1629436"/>
                <a:gd name="connsiteY0" fmla="*/ 1119184 h 1799377"/>
                <a:gd name="connsiteX1" fmla="*/ 0 w 1629436"/>
                <a:gd name="connsiteY1" fmla="*/ 1647822 h 1799377"/>
                <a:gd name="connsiteX2" fmla="*/ 1476374 w 1629436"/>
                <a:gd name="connsiteY2" fmla="*/ 1464467 h 1799377"/>
                <a:gd name="connsiteX3" fmla="*/ 1264443 w 1629436"/>
                <a:gd name="connsiteY3" fmla="*/ 540542 h 1799377"/>
                <a:gd name="connsiteX4" fmla="*/ 835820 w 1629436"/>
                <a:gd name="connsiteY4" fmla="*/ 373856 h 1799377"/>
                <a:gd name="connsiteX5" fmla="*/ 807244 w 1629436"/>
                <a:gd name="connsiteY5" fmla="*/ 0 h 1799377"/>
                <a:gd name="connsiteX6" fmla="*/ 421482 w 1629436"/>
                <a:gd name="connsiteY6" fmla="*/ 321468 h 1799377"/>
                <a:gd name="connsiteX7" fmla="*/ 595313 w 1629436"/>
                <a:gd name="connsiteY7" fmla="*/ 766762 h 1799377"/>
                <a:gd name="connsiteX8" fmla="*/ 923925 w 1629436"/>
                <a:gd name="connsiteY8" fmla="*/ 1007267 h 1799377"/>
                <a:gd name="connsiteX9" fmla="*/ 621506 w 1629436"/>
                <a:gd name="connsiteY9" fmla="*/ 1352547 h 1799377"/>
                <a:gd name="connsiteX10" fmla="*/ 0 w 1629436"/>
                <a:gd name="connsiteY10" fmla="*/ 1119184 h 1799377"/>
                <a:gd name="connsiteX0" fmla="*/ 0 w 1606110"/>
                <a:gd name="connsiteY0" fmla="*/ 1119184 h 1796213"/>
                <a:gd name="connsiteX1" fmla="*/ 0 w 1606110"/>
                <a:gd name="connsiteY1" fmla="*/ 1647822 h 1796213"/>
                <a:gd name="connsiteX2" fmla="*/ 1476374 w 1606110"/>
                <a:gd name="connsiteY2" fmla="*/ 1464467 h 1796213"/>
                <a:gd name="connsiteX3" fmla="*/ 1264443 w 1606110"/>
                <a:gd name="connsiteY3" fmla="*/ 540542 h 1796213"/>
                <a:gd name="connsiteX4" fmla="*/ 835820 w 1606110"/>
                <a:gd name="connsiteY4" fmla="*/ 373856 h 1796213"/>
                <a:gd name="connsiteX5" fmla="*/ 807244 w 1606110"/>
                <a:gd name="connsiteY5" fmla="*/ 0 h 1796213"/>
                <a:gd name="connsiteX6" fmla="*/ 421482 w 1606110"/>
                <a:gd name="connsiteY6" fmla="*/ 321468 h 1796213"/>
                <a:gd name="connsiteX7" fmla="*/ 595313 w 1606110"/>
                <a:gd name="connsiteY7" fmla="*/ 766762 h 1796213"/>
                <a:gd name="connsiteX8" fmla="*/ 923925 w 1606110"/>
                <a:gd name="connsiteY8" fmla="*/ 1007267 h 1796213"/>
                <a:gd name="connsiteX9" fmla="*/ 621506 w 1606110"/>
                <a:gd name="connsiteY9" fmla="*/ 1352547 h 1796213"/>
                <a:gd name="connsiteX10" fmla="*/ 0 w 1606110"/>
                <a:gd name="connsiteY10" fmla="*/ 1119184 h 1796213"/>
                <a:gd name="connsiteX0" fmla="*/ 0 w 1625337"/>
                <a:gd name="connsiteY0" fmla="*/ 1119184 h 1796213"/>
                <a:gd name="connsiteX1" fmla="*/ 0 w 1625337"/>
                <a:gd name="connsiteY1" fmla="*/ 1647822 h 1796213"/>
                <a:gd name="connsiteX2" fmla="*/ 1476374 w 1625337"/>
                <a:gd name="connsiteY2" fmla="*/ 1464467 h 1796213"/>
                <a:gd name="connsiteX3" fmla="*/ 1264443 w 1625337"/>
                <a:gd name="connsiteY3" fmla="*/ 540542 h 1796213"/>
                <a:gd name="connsiteX4" fmla="*/ 835820 w 1625337"/>
                <a:gd name="connsiteY4" fmla="*/ 373856 h 1796213"/>
                <a:gd name="connsiteX5" fmla="*/ 807244 w 1625337"/>
                <a:gd name="connsiteY5" fmla="*/ 0 h 1796213"/>
                <a:gd name="connsiteX6" fmla="*/ 421482 w 1625337"/>
                <a:gd name="connsiteY6" fmla="*/ 321468 h 1796213"/>
                <a:gd name="connsiteX7" fmla="*/ 595313 w 1625337"/>
                <a:gd name="connsiteY7" fmla="*/ 766762 h 1796213"/>
                <a:gd name="connsiteX8" fmla="*/ 923925 w 1625337"/>
                <a:gd name="connsiteY8" fmla="*/ 1007267 h 1796213"/>
                <a:gd name="connsiteX9" fmla="*/ 621506 w 1625337"/>
                <a:gd name="connsiteY9" fmla="*/ 1352547 h 1796213"/>
                <a:gd name="connsiteX10" fmla="*/ 0 w 1625337"/>
                <a:gd name="connsiteY10" fmla="*/ 1119184 h 1796213"/>
                <a:gd name="connsiteX0" fmla="*/ 0 w 1625337"/>
                <a:gd name="connsiteY0" fmla="*/ 1119184 h 1803595"/>
                <a:gd name="connsiteX1" fmla="*/ 0 w 1625337"/>
                <a:gd name="connsiteY1" fmla="*/ 1647822 h 1803595"/>
                <a:gd name="connsiteX2" fmla="*/ 1476374 w 1625337"/>
                <a:gd name="connsiteY2" fmla="*/ 1464467 h 1803595"/>
                <a:gd name="connsiteX3" fmla="*/ 1264443 w 1625337"/>
                <a:gd name="connsiteY3" fmla="*/ 540542 h 1803595"/>
                <a:gd name="connsiteX4" fmla="*/ 835820 w 1625337"/>
                <a:gd name="connsiteY4" fmla="*/ 373856 h 1803595"/>
                <a:gd name="connsiteX5" fmla="*/ 807244 w 1625337"/>
                <a:gd name="connsiteY5" fmla="*/ 0 h 1803595"/>
                <a:gd name="connsiteX6" fmla="*/ 421482 w 1625337"/>
                <a:gd name="connsiteY6" fmla="*/ 321468 h 1803595"/>
                <a:gd name="connsiteX7" fmla="*/ 595313 w 1625337"/>
                <a:gd name="connsiteY7" fmla="*/ 766762 h 1803595"/>
                <a:gd name="connsiteX8" fmla="*/ 923925 w 1625337"/>
                <a:gd name="connsiteY8" fmla="*/ 1007267 h 1803595"/>
                <a:gd name="connsiteX9" fmla="*/ 621506 w 1625337"/>
                <a:gd name="connsiteY9" fmla="*/ 1352547 h 1803595"/>
                <a:gd name="connsiteX10" fmla="*/ 0 w 1625337"/>
                <a:gd name="connsiteY10" fmla="*/ 1119184 h 1803595"/>
                <a:gd name="connsiteX0" fmla="*/ 0 w 1625337"/>
                <a:gd name="connsiteY0" fmla="*/ 1119184 h 1799376"/>
                <a:gd name="connsiteX1" fmla="*/ 0 w 1625337"/>
                <a:gd name="connsiteY1" fmla="*/ 1647822 h 1799376"/>
                <a:gd name="connsiteX2" fmla="*/ 1476374 w 1625337"/>
                <a:gd name="connsiteY2" fmla="*/ 1464467 h 1799376"/>
                <a:gd name="connsiteX3" fmla="*/ 1264443 w 1625337"/>
                <a:gd name="connsiteY3" fmla="*/ 540542 h 1799376"/>
                <a:gd name="connsiteX4" fmla="*/ 835820 w 1625337"/>
                <a:gd name="connsiteY4" fmla="*/ 373856 h 1799376"/>
                <a:gd name="connsiteX5" fmla="*/ 807244 w 1625337"/>
                <a:gd name="connsiteY5" fmla="*/ 0 h 1799376"/>
                <a:gd name="connsiteX6" fmla="*/ 421482 w 1625337"/>
                <a:gd name="connsiteY6" fmla="*/ 321468 h 1799376"/>
                <a:gd name="connsiteX7" fmla="*/ 595313 w 1625337"/>
                <a:gd name="connsiteY7" fmla="*/ 766762 h 1799376"/>
                <a:gd name="connsiteX8" fmla="*/ 923925 w 1625337"/>
                <a:gd name="connsiteY8" fmla="*/ 1007267 h 1799376"/>
                <a:gd name="connsiteX9" fmla="*/ 621506 w 1625337"/>
                <a:gd name="connsiteY9" fmla="*/ 1352547 h 1799376"/>
                <a:gd name="connsiteX10" fmla="*/ 0 w 1625337"/>
                <a:gd name="connsiteY10" fmla="*/ 1119184 h 1799376"/>
                <a:gd name="connsiteX0" fmla="*/ 0 w 1635914"/>
                <a:gd name="connsiteY0" fmla="*/ 1119184 h 1799376"/>
                <a:gd name="connsiteX1" fmla="*/ 0 w 1635914"/>
                <a:gd name="connsiteY1" fmla="*/ 1647822 h 1799376"/>
                <a:gd name="connsiteX2" fmla="*/ 1476374 w 1635914"/>
                <a:gd name="connsiteY2" fmla="*/ 1464467 h 1799376"/>
                <a:gd name="connsiteX3" fmla="*/ 1264443 w 1635914"/>
                <a:gd name="connsiteY3" fmla="*/ 540542 h 1799376"/>
                <a:gd name="connsiteX4" fmla="*/ 835820 w 1635914"/>
                <a:gd name="connsiteY4" fmla="*/ 373856 h 1799376"/>
                <a:gd name="connsiteX5" fmla="*/ 807244 w 1635914"/>
                <a:gd name="connsiteY5" fmla="*/ 0 h 1799376"/>
                <a:gd name="connsiteX6" fmla="*/ 421482 w 1635914"/>
                <a:gd name="connsiteY6" fmla="*/ 321468 h 1799376"/>
                <a:gd name="connsiteX7" fmla="*/ 595313 w 1635914"/>
                <a:gd name="connsiteY7" fmla="*/ 766762 h 1799376"/>
                <a:gd name="connsiteX8" fmla="*/ 923925 w 1635914"/>
                <a:gd name="connsiteY8" fmla="*/ 1007267 h 1799376"/>
                <a:gd name="connsiteX9" fmla="*/ 621506 w 1635914"/>
                <a:gd name="connsiteY9" fmla="*/ 1352547 h 1799376"/>
                <a:gd name="connsiteX10" fmla="*/ 0 w 1635914"/>
                <a:gd name="connsiteY10" fmla="*/ 1119184 h 1799376"/>
                <a:gd name="connsiteX0" fmla="*/ 0 w 1720482"/>
                <a:gd name="connsiteY0" fmla="*/ 1119184 h 1772537"/>
                <a:gd name="connsiteX1" fmla="*/ 0 w 1720482"/>
                <a:gd name="connsiteY1" fmla="*/ 1647822 h 1772537"/>
                <a:gd name="connsiteX2" fmla="*/ 1476374 w 1720482"/>
                <a:gd name="connsiteY2" fmla="*/ 1464467 h 1772537"/>
                <a:gd name="connsiteX3" fmla="*/ 1397793 w 1720482"/>
                <a:gd name="connsiteY3" fmla="*/ 626267 h 1772537"/>
                <a:gd name="connsiteX4" fmla="*/ 835820 w 1720482"/>
                <a:gd name="connsiteY4" fmla="*/ 373856 h 1772537"/>
                <a:gd name="connsiteX5" fmla="*/ 807244 w 1720482"/>
                <a:gd name="connsiteY5" fmla="*/ 0 h 1772537"/>
                <a:gd name="connsiteX6" fmla="*/ 421482 w 1720482"/>
                <a:gd name="connsiteY6" fmla="*/ 321468 h 1772537"/>
                <a:gd name="connsiteX7" fmla="*/ 595313 w 1720482"/>
                <a:gd name="connsiteY7" fmla="*/ 766762 h 1772537"/>
                <a:gd name="connsiteX8" fmla="*/ 923925 w 1720482"/>
                <a:gd name="connsiteY8" fmla="*/ 1007267 h 1772537"/>
                <a:gd name="connsiteX9" fmla="*/ 621506 w 1720482"/>
                <a:gd name="connsiteY9" fmla="*/ 1352547 h 1772537"/>
                <a:gd name="connsiteX10" fmla="*/ 0 w 1720482"/>
                <a:gd name="connsiteY10" fmla="*/ 1119184 h 1772537"/>
                <a:gd name="connsiteX0" fmla="*/ 0 w 1630664"/>
                <a:gd name="connsiteY0" fmla="*/ 1119184 h 1772537"/>
                <a:gd name="connsiteX1" fmla="*/ 0 w 1630664"/>
                <a:gd name="connsiteY1" fmla="*/ 1647822 h 1772537"/>
                <a:gd name="connsiteX2" fmla="*/ 1476374 w 1630664"/>
                <a:gd name="connsiteY2" fmla="*/ 1464467 h 1772537"/>
                <a:gd name="connsiteX3" fmla="*/ 1397793 w 1630664"/>
                <a:gd name="connsiteY3" fmla="*/ 626267 h 1772537"/>
                <a:gd name="connsiteX4" fmla="*/ 835820 w 1630664"/>
                <a:gd name="connsiteY4" fmla="*/ 373856 h 1772537"/>
                <a:gd name="connsiteX5" fmla="*/ 807244 w 1630664"/>
                <a:gd name="connsiteY5" fmla="*/ 0 h 1772537"/>
                <a:gd name="connsiteX6" fmla="*/ 421482 w 1630664"/>
                <a:gd name="connsiteY6" fmla="*/ 321468 h 1772537"/>
                <a:gd name="connsiteX7" fmla="*/ 595313 w 1630664"/>
                <a:gd name="connsiteY7" fmla="*/ 766762 h 1772537"/>
                <a:gd name="connsiteX8" fmla="*/ 923925 w 1630664"/>
                <a:gd name="connsiteY8" fmla="*/ 1007267 h 1772537"/>
                <a:gd name="connsiteX9" fmla="*/ 621506 w 1630664"/>
                <a:gd name="connsiteY9" fmla="*/ 1352547 h 1772537"/>
                <a:gd name="connsiteX10" fmla="*/ 0 w 1630664"/>
                <a:gd name="connsiteY10" fmla="*/ 1119184 h 1772537"/>
                <a:gd name="connsiteX0" fmla="*/ 0 w 1615856"/>
                <a:gd name="connsiteY0" fmla="*/ 1119184 h 1800557"/>
                <a:gd name="connsiteX1" fmla="*/ 0 w 1615856"/>
                <a:gd name="connsiteY1" fmla="*/ 1647822 h 1800557"/>
                <a:gd name="connsiteX2" fmla="*/ 1476374 w 1615856"/>
                <a:gd name="connsiteY2" fmla="*/ 1464467 h 1800557"/>
                <a:gd name="connsiteX3" fmla="*/ 1397793 w 1615856"/>
                <a:gd name="connsiteY3" fmla="*/ 626267 h 1800557"/>
                <a:gd name="connsiteX4" fmla="*/ 835820 w 1615856"/>
                <a:gd name="connsiteY4" fmla="*/ 373856 h 1800557"/>
                <a:gd name="connsiteX5" fmla="*/ 807244 w 1615856"/>
                <a:gd name="connsiteY5" fmla="*/ 0 h 1800557"/>
                <a:gd name="connsiteX6" fmla="*/ 421482 w 1615856"/>
                <a:gd name="connsiteY6" fmla="*/ 321468 h 1800557"/>
                <a:gd name="connsiteX7" fmla="*/ 595313 w 1615856"/>
                <a:gd name="connsiteY7" fmla="*/ 766762 h 1800557"/>
                <a:gd name="connsiteX8" fmla="*/ 923925 w 1615856"/>
                <a:gd name="connsiteY8" fmla="*/ 1007267 h 1800557"/>
                <a:gd name="connsiteX9" fmla="*/ 621506 w 1615856"/>
                <a:gd name="connsiteY9" fmla="*/ 1352547 h 1800557"/>
                <a:gd name="connsiteX10" fmla="*/ 0 w 1615856"/>
                <a:gd name="connsiteY10" fmla="*/ 1119184 h 1800557"/>
                <a:gd name="connsiteX0" fmla="*/ 0 w 1626496"/>
                <a:gd name="connsiteY0" fmla="*/ 1119184 h 1800277"/>
                <a:gd name="connsiteX1" fmla="*/ 0 w 1626496"/>
                <a:gd name="connsiteY1" fmla="*/ 1647822 h 1800277"/>
                <a:gd name="connsiteX2" fmla="*/ 1476374 w 1626496"/>
                <a:gd name="connsiteY2" fmla="*/ 1464467 h 1800277"/>
                <a:gd name="connsiteX3" fmla="*/ 1397793 w 1626496"/>
                <a:gd name="connsiteY3" fmla="*/ 626267 h 1800277"/>
                <a:gd name="connsiteX4" fmla="*/ 835820 w 1626496"/>
                <a:gd name="connsiteY4" fmla="*/ 373856 h 1800277"/>
                <a:gd name="connsiteX5" fmla="*/ 807244 w 1626496"/>
                <a:gd name="connsiteY5" fmla="*/ 0 h 1800277"/>
                <a:gd name="connsiteX6" fmla="*/ 421482 w 1626496"/>
                <a:gd name="connsiteY6" fmla="*/ 321468 h 1800277"/>
                <a:gd name="connsiteX7" fmla="*/ 595313 w 1626496"/>
                <a:gd name="connsiteY7" fmla="*/ 766762 h 1800277"/>
                <a:gd name="connsiteX8" fmla="*/ 923925 w 1626496"/>
                <a:gd name="connsiteY8" fmla="*/ 1007267 h 1800277"/>
                <a:gd name="connsiteX9" fmla="*/ 621506 w 1626496"/>
                <a:gd name="connsiteY9" fmla="*/ 1352547 h 1800277"/>
                <a:gd name="connsiteX10" fmla="*/ 0 w 1626496"/>
                <a:gd name="connsiteY10" fmla="*/ 1119184 h 180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6496" h="1800277">
                  <a:moveTo>
                    <a:pt x="0" y="1119184"/>
                  </a:moveTo>
                  <a:lnTo>
                    <a:pt x="0" y="1647822"/>
                  </a:lnTo>
                  <a:cubicBezTo>
                    <a:pt x="686196" y="1947462"/>
                    <a:pt x="1196953" y="1762179"/>
                    <a:pt x="1476374" y="1464467"/>
                  </a:cubicBezTo>
                  <a:cubicBezTo>
                    <a:pt x="1699180" y="1227076"/>
                    <a:pt x="1674781" y="817990"/>
                    <a:pt x="1397793" y="626267"/>
                  </a:cubicBezTo>
                  <a:cubicBezTo>
                    <a:pt x="1228944" y="509394"/>
                    <a:pt x="1023144" y="457993"/>
                    <a:pt x="835820" y="373856"/>
                  </a:cubicBezTo>
                  <a:cubicBezTo>
                    <a:pt x="676275" y="325437"/>
                    <a:pt x="542926" y="112711"/>
                    <a:pt x="807244" y="0"/>
                  </a:cubicBezTo>
                  <a:cubicBezTo>
                    <a:pt x="507207" y="50006"/>
                    <a:pt x="440530" y="235745"/>
                    <a:pt x="421482" y="321468"/>
                  </a:cubicBezTo>
                  <a:cubicBezTo>
                    <a:pt x="362745" y="574674"/>
                    <a:pt x="546894" y="723107"/>
                    <a:pt x="595313" y="766762"/>
                  </a:cubicBezTo>
                  <a:cubicBezTo>
                    <a:pt x="664369" y="835024"/>
                    <a:pt x="857250" y="884236"/>
                    <a:pt x="923925" y="1007267"/>
                  </a:cubicBezTo>
                  <a:cubicBezTo>
                    <a:pt x="992188" y="1158079"/>
                    <a:pt x="883541" y="1334500"/>
                    <a:pt x="621506" y="1352547"/>
                  </a:cubicBezTo>
                  <a:cubicBezTo>
                    <a:pt x="455755" y="1363963"/>
                    <a:pt x="205977" y="1265235"/>
                    <a:pt x="0" y="1119184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4" name="Freeform 34"/>
            <p:cNvSpPr/>
            <p:nvPr userDrawn="1"/>
          </p:nvSpPr>
          <p:spPr>
            <a:xfrm>
              <a:off x="8504651" y="159540"/>
              <a:ext cx="118940" cy="68882"/>
            </a:xfrm>
            <a:custGeom>
              <a:avLst/>
              <a:gdLst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13690"/>
                <a:gd name="connsiteY0" fmla="*/ 635794 h 788194"/>
                <a:gd name="connsiteX1" fmla="*/ 1402556 w 1413690"/>
                <a:gd name="connsiteY1" fmla="*/ 64294 h 788194"/>
                <a:gd name="connsiteX2" fmla="*/ 547687 w 1413690"/>
                <a:gd name="connsiteY2" fmla="*/ 0 h 788194"/>
                <a:gd name="connsiteX3" fmla="*/ 14287 w 1413690"/>
                <a:gd name="connsiteY3" fmla="*/ 469106 h 788194"/>
                <a:gd name="connsiteX4" fmla="*/ 0 w 1413690"/>
                <a:gd name="connsiteY4" fmla="*/ 788194 h 788194"/>
                <a:gd name="connsiteX5" fmla="*/ 283368 w 1413690"/>
                <a:gd name="connsiteY5" fmla="*/ 438150 h 788194"/>
                <a:gd name="connsiteX6" fmla="*/ 821531 w 1413690"/>
                <a:gd name="connsiteY6" fmla="*/ 371475 h 788194"/>
                <a:gd name="connsiteX7" fmla="*/ 1404937 w 1413690"/>
                <a:gd name="connsiteY7" fmla="*/ 635794 h 788194"/>
                <a:gd name="connsiteX0" fmla="*/ 1404937 w 1417413"/>
                <a:gd name="connsiteY0" fmla="*/ 635794 h 788194"/>
                <a:gd name="connsiteX1" fmla="*/ 1402556 w 1417413"/>
                <a:gd name="connsiteY1" fmla="*/ 64294 h 788194"/>
                <a:gd name="connsiteX2" fmla="*/ 547687 w 1417413"/>
                <a:gd name="connsiteY2" fmla="*/ 0 h 788194"/>
                <a:gd name="connsiteX3" fmla="*/ 14287 w 1417413"/>
                <a:gd name="connsiteY3" fmla="*/ 469106 h 788194"/>
                <a:gd name="connsiteX4" fmla="*/ 0 w 1417413"/>
                <a:gd name="connsiteY4" fmla="*/ 788194 h 788194"/>
                <a:gd name="connsiteX5" fmla="*/ 283368 w 1417413"/>
                <a:gd name="connsiteY5" fmla="*/ 438150 h 788194"/>
                <a:gd name="connsiteX6" fmla="*/ 821531 w 1417413"/>
                <a:gd name="connsiteY6" fmla="*/ 371475 h 788194"/>
                <a:gd name="connsiteX7" fmla="*/ 1404937 w 1417413"/>
                <a:gd name="connsiteY7" fmla="*/ 635794 h 788194"/>
                <a:gd name="connsiteX0" fmla="*/ 1404937 w 1417413"/>
                <a:gd name="connsiteY0" fmla="*/ 636458 h 788858"/>
                <a:gd name="connsiteX1" fmla="*/ 1402556 w 1417413"/>
                <a:gd name="connsiteY1" fmla="*/ 64958 h 788858"/>
                <a:gd name="connsiteX2" fmla="*/ 547687 w 1417413"/>
                <a:gd name="connsiteY2" fmla="*/ 664 h 788858"/>
                <a:gd name="connsiteX3" fmla="*/ 14287 w 1417413"/>
                <a:gd name="connsiteY3" fmla="*/ 469770 h 788858"/>
                <a:gd name="connsiteX4" fmla="*/ 0 w 1417413"/>
                <a:gd name="connsiteY4" fmla="*/ 788858 h 788858"/>
                <a:gd name="connsiteX5" fmla="*/ 283368 w 1417413"/>
                <a:gd name="connsiteY5" fmla="*/ 438814 h 788858"/>
                <a:gd name="connsiteX6" fmla="*/ 821531 w 1417413"/>
                <a:gd name="connsiteY6" fmla="*/ 372139 h 788858"/>
                <a:gd name="connsiteX7" fmla="*/ 1404937 w 1417413"/>
                <a:gd name="connsiteY7" fmla="*/ 636458 h 788858"/>
                <a:gd name="connsiteX0" fmla="*/ 1404937 w 1417413"/>
                <a:gd name="connsiteY0" fmla="*/ 659983 h 812383"/>
                <a:gd name="connsiteX1" fmla="*/ 1402556 w 1417413"/>
                <a:gd name="connsiteY1" fmla="*/ 88483 h 812383"/>
                <a:gd name="connsiteX2" fmla="*/ 547687 w 1417413"/>
                <a:gd name="connsiteY2" fmla="*/ 24189 h 812383"/>
                <a:gd name="connsiteX3" fmla="*/ 14287 w 1417413"/>
                <a:gd name="connsiteY3" fmla="*/ 493295 h 812383"/>
                <a:gd name="connsiteX4" fmla="*/ 0 w 1417413"/>
                <a:gd name="connsiteY4" fmla="*/ 812383 h 812383"/>
                <a:gd name="connsiteX5" fmla="*/ 283368 w 1417413"/>
                <a:gd name="connsiteY5" fmla="*/ 462339 h 812383"/>
                <a:gd name="connsiteX6" fmla="*/ 821531 w 1417413"/>
                <a:gd name="connsiteY6" fmla="*/ 395664 h 812383"/>
                <a:gd name="connsiteX7" fmla="*/ 1404937 w 1417413"/>
                <a:gd name="connsiteY7" fmla="*/ 659983 h 812383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6804 w 1419280"/>
                <a:gd name="connsiteY0" fmla="*/ 674932 h 827332"/>
                <a:gd name="connsiteX1" fmla="*/ 1404423 w 1419280"/>
                <a:gd name="connsiteY1" fmla="*/ 103432 h 827332"/>
                <a:gd name="connsiteX2" fmla="*/ 549554 w 1419280"/>
                <a:gd name="connsiteY2" fmla="*/ 39138 h 827332"/>
                <a:gd name="connsiteX3" fmla="*/ 16154 w 1419280"/>
                <a:gd name="connsiteY3" fmla="*/ 508244 h 827332"/>
                <a:gd name="connsiteX4" fmla="*/ 1867 w 1419280"/>
                <a:gd name="connsiteY4" fmla="*/ 827332 h 827332"/>
                <a:gd name="connsiteX5" fmla="*/ 285235 w 1419280"/>
                <a:gd name="connsiteY5" fmla="*/ 477288 h 827332"/>
                <a:gd name="connsiteX6" fmla="*/ 823398 w 1419280"/>
                <a:gd name="connsiteY6" fmla="*/ 410613 h 827332"/>
                <a:gd name="connsiteX7" fmla="*/ 1406804 w 1419280"/>
                <a:gd name="connsiteY7" fmla="*/ 674932 h 827332"/>
                <a:gd name="connsiteX0" fmla="*/ 1409119 w 1421595"/>
                <a:gd name="connsiteY0" fmla="*/ 674932 h 827332"/>
                <a:gd name="connsiteX1" fmla="*/ 1406738 w 1421595"/>
                <a:gd name="connsiteY1" fmla="*/ 103432 h 827332"/>
                <a:gd name="connsiteX2" fmla="*/ 551869 w 1421595"/>
                <a:gd name="connsiteY2" fmla="*/ 39138 h 827332"/>
                <a:gd name="connsiteX3" fmla="*/ 18469 w 1421595"/>
                <a:gd name="connsiteY3" fmla="*/ 508244 h 827332"/>
                <a:gd name="connsiteX4" fmla="*/ 4182 w 1421595"/>
                <a:gd name="connsiteY4" fmla="*/ 827332 h 827332"/>
                <a:gd name="connsiteX5" fmla="*/ 287550 w 1421595"/>
                <a:gd name="connsiteY5" fmla="*/ 477288 h 827332"/>
                <a:gd name="connsiteX6" fmla="*/ 825713 w 1421595"/>
                <a:gd name="connsiteY6" fmla="*/ 410613 h 827332"/>
                <a:gd name="connsiteX7" fmla="*/ 1409119 w 1421595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17089 w 1428574"/>
                <a:gd name="connsiteY0" fmla="*/ 674932 h 827332"/>
                <a:gd name="connsiteX1" fmla="*/ 1414708 w 1428574"/>
                <a:gd name="connsiteY1" fmla="*/ 103432 h 827332"/>
                <a:gd name="connsiteX2" fmla="*/ 559839 w 1428574"/>
                <a:gd name="connsiteY2" fmla="*/ 39138 h 827332"/>
                <a:gd name="connsiteX3" fmla="*/ 26439 w 1428574"/>
                <a:gd name="connsiteY3" fmla="*/ 508244 h 827332"/>
                <a:gd name="connsiteX4" fmla="*/ 12152 w 1428574"/>
                <a:gd name="connsiteY4" fmla="*/ 827332 h 827332"/>
                <a:gd name="connsiteX5" fmla="*/ 295520 w 1428574"/>
                <a:gd name="connsiteY5" fmla="*/ 477288 h 827332"/>
                <a:gd name="connsiteX6" fmla="*/ 833683 w 1428574"/>
                <a:gd name="connsiteY6" fmla="*/ 410613 h 827332"/>
                <a:gd name="connsiteX7" fmla="*/ 1417089 w 1428574"/>
                <a:gd name="connsiteY7" fmla="*/ 674932 h 82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574" h="827332">
                  <a:moveTo>
                    <a:pt x="1417089" y="674932"/>
                  </a:moveTo>
                  <a:cubicBezTo>
                    <a:pt x="1435346" y="448714"/>
                    <a:pt x="1429789" y="289169"/>
                    <a:pt x="1414708" y="103432"/>
                  </a:cubicBezTo>
                  <a:cubicBezTo>
                    <a:pt x="1129752" y="1038"/>
                    <a:pt x="880514" y="-34681"/>
                    <a:pt x="559839" y="39138"/>
                  </a:cubicBezTo>
                  <a:cubicBezTo>
                    <a:pt x="324968" y="93205"/>
                    <a:pt x="103590" y="255487"/>
                    <a:pt x="26439" y="508244"/>
                  </a:cubicBezTo>
                  <a:cubicBezTo>
                    <a:pt x="-7732" y="620193"/>
                    <a:pt x="-4518" y="728112"/>
                    <a:pt x="12152" y="827332"/>
                  </a:cubicBezTo>
                  <a:cubicBezTo>
                    <a:pt x="28424" y="650723"/>
                    <a:pt x="130471" y="560134"/>
                    <a:pt x="295520" y="477288"/>
                  </a:cubicBezTo>
                  <a:cubicBezTo>
                    <a:pt x="460084" y="394686"/>
                    <a:pt x="654458" y="387116"/>
                    <a:pt x="833683" y="410613"/>
                  </a:cubicBezTo>
                  <a:cubicBezTo>
                    <a:pt x="1142452" y="451094"/>
                    <a:pt x="1298820" y="584445"/>
                    <a:pt x="1417089" y="674932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</p:grpSp>
      <p:pic>
        <p:nvPicPr>
          <p:cNvPr id="15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7147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8400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251" y="992982"/>
            <a:ext cx="3756025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8676" y="992982"/>
            <a:ext cx="3757613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41651" y="4817269"/>
            <a:ext cx="1490663" cy="12977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F238C"/>
                </a:solidFill>
              </a:rPr>
              <a:t>Slide </a:t>
            </a:r>
            <a:fld id="{938B7247-8C21-4A54-87DD-A1074D713339}" type="slidenum">
              <a:rPr lang="en-US">
                <a:solidFill>
                  <a:srgbClr val="0F238C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0F238C"/>
                </a:solidFill>
              </a:rPr>
              <a:t>   |</a:t>
            </a:r>
          </a:p>
        </p:txBody>
      </p:sp>
      <p:sp>
        <p:nvSpPr>
          <p:cNvPr id="6" name="Rectangle 1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DE41D5-4E96-47EE-978D-0456AF803B05}" type="datetime5">
              <a:rPr lang="en-US">
                <a:solidFill>
                  <a:srgbClr val="0F238C"/>
                </a:solidFill>
              </a:rPr>
              <a:pPr>
                <a:defRPr/>
              </a:pPr>
              <a:t>16-Jul-18</a:t>
            </a:fld>
            <a:endParaRPr lang="en-US">
              <a:solidFill>
                <a:srgbClr val="0F238C"/>
              </a:solidFill>
            </a:endParaRPr>
          </a:p>
        </p:txBody>
      </p:sp>
      <p:sp>
        <p:nvSpPr>
          <p:cNvPr id="7" name="Rectangle 15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F23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20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41651" y="4817269"/>
            <a:ext cx="1490663" cy="12977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F238C"/>
                </a:solidFill>
              </a:rPr>
              <a:t>Slide </a:t>
            </a:r>
            <a:fld id="{AD57392C-B0C8-43EF-9288-3D647367D4F9}" type="slidenum">
              <a:rPr lang="en-US">
                <a:solidFill>
                  <a:srgbClr val="0F238C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0F238C"/>
                </a:solidFill>
              </a:rPr>
              <a:t>   |</a:t>
            </a:r>
          </a:p>
        </p:txBody>
      </p:sp>
      <p:sp>
        <p:nvSpPr>
          <p:cNvPr id="5" name="Rectangle 1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12A29B-279E-471A-906B-110E0FC738BD}" type="datetime5">
              <a:rPr lang="en-US">
                <a:solidFill>
                  <a:srgbClr val="0F238C"/>
                </a:solidFill>
              </a:rPr>
              <a:pPr>
                <a:defRPr/>
              </a:pPr>
              <a:t>16-Jul-18</a:t>
            </a:fld>
            <a:endParaRPr lang="en-US">
              <a:solidFill>
                <a:srgbClr val="0F238C"/>
              </a:solidFill>
            </a:endParaRPr>
          </a:p>
        </p:txBody>
      </p:sp>
      <p:sp>
        <p:nvSpPr>
          <p:cNvPr id="6" name="Rectangle 15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F23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419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ML Fig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15200" cy="5570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  <a:br>
              <a:rPr lang="en-US" dirty="0"/>
            </a:b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/>
          </p:nvPr>
        </p:nvSpPr>
        <p:spPr>
          <a:xfrm>
            <a:off x="733427" y="1069848"/>
            <a:ext cx="7267575" cy="3787902"/>
          </a:xfrm>
          <a:prstGeom prst="rect">
            <a:avLst/>
          </a:prstGeom>
          <a:effectLst>
            <a:outerShdw blurRad="127000" dist="50800" dir="2700000" algn="tl" rotWithShape="0">
              <a:schemeClr val="accent3">
                <a:alpha val="80000"/>
              </a:schemeClr>
            </a:outerShdw>
            <a:reflection blurRad="6350" stA="52000" endA="300" endPos="35000" dir="5400000" sy="-100000" algn="bl" rotWithShape="0"/>
          </a:effectLst>
        </p:spPr>
        <p:txBody>
          <a:bodyPr/>
          <a:lstStyle>
            <a:lvl1pPr marL="0" indent="0"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hangingPunct="0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38" name="Freeform 37"/>
          <p:cNvSpPr/>
          <p:nvPr userDrawn="1"/>
        </p:nvSpPr>
        <p:spPr>
          <a:xfrm>
            <a:off x="8320089" y="164784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 eaLnBrk="0" hangingPunct="0"/>
            <a:endParaRPr lang="en-US" sz="1800">
              <a:solidFill>
                <a:srgbClr val="0F238C"/>
              </a:solidFill>
            </a:endParaRPr>
          </a:p>
        </p:txBody>
      </p:sp>
      <p:sp>
        <p:nvSpPr>
          <p:cNvPr id="39" name="Freeform 38"/>
          <p:cNvSpPr/>
          <p:nvPr userDrawn="1"/>
        </p:nvSpPr>
        <p:spPr>
          <a:xfrm>
            <a:off x="8653687" y="164585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 eaLnBrk="0" hangingPunct="0"/>
            <a:endParaRPr lang="en-US" sz="1800">
              <a:solidFill>
                <a:srgbClr val="0F238C"/>
              </a:solidFill>
            </a:endParaRPr>
          </a:p>
        </p:txBody>
      </p:sp>
      <p:sp>
        <p:nvSpPr>
          <p:cNvPr id="40" name="Freeform 39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 eaLnBrk="0" hangingPunct="0"/>
            <a:endParaRPr lang="en-US" sz="1800">
              <a:solidFill>
                <a:srgbClr val="0F238C"/>
              </a:solidFill>
            </a:endParaRPr>
          </a:p>
        </p:txBody>
      </p:sp>
      <p:sp>
        <p:nvSpPr>
          <p:cNvPr id="41" name="Freeform 40"/>
          <p:cNvSpPr/>
          <p:nvPr userDrawn="1"/>
        </p:nvSpPr>
        <p:spPr>
          <a:xfrm>
            <a:off x="8502104" y="201463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 eaLnBrk="0" hangingPunct="0"/>
            <a:endParaRPr lang="en-US" sz="1800">
              <a:solidFill>
                <a:srgbClr val="0F238C"/>
              </a:solidFill>
            </a:endParaRPr>
          </a:p>
        </p:txBody>
      </p:sp>
      <p:sp>
        <p:nvSpPr>
          <p:cNvPr id="42" name="Freeform 41"/>
          <p:cNvSpPr/>
          <p:nvPr userDrawn="1"/>
        </p:nvSpPr>
        <p:spPr>
          <a:xfrm>
            <a:off x="8504651" y="159541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 eaLnBrk="0" hangingPunct="0"/>
            <a:endParaRPr lang="en-US" sz="1800">
              <a:solidFill>
                <a:srgbClr val="0F238C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8252232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>
                <a:solidFill>
                  <a:srgbClr val="0F238C"/>
                </a:solidFill>
              </a:rPr>
              <a:pPr/>
              <a:t>16 July 2018</a:t>
            </a:fld>
            <a:endParaRPr lang="en-US" dirty="0">
              <a:solidFill>
                <a:srgbClr val="0F238C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8252231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C7DDB"/>
                </a:solidFill>
              </a:rPr>
              <a:t>Confidential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252232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F238C"/>
                </a:solidFill>
              </a:rPr>
              <a:t>Slide </a:t>
            </a:r>
            <a:fld id="{2BF23E3A-8558-42B9-AEEE-59D910584A16}" type="slidenum">
              <a:rPr lang="en-US" smtClean="0">
                <a:solidFill>
                  <a:srgbClr val="0F238C"/>
                </a:solidFill>
              </a:rPr>
              <a:pPr/>
              <a:t>‹#›</a:t>
            </a:fld>
            <a:endParaRPr lang="en-US" dirty="0">
              <a:solidFill>
                <a:srgbClr val="0F23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484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SM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65588" cy="5570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  <a:br>
              <a:rPr lang="en-US" dirty="0"/>
            </a:b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1069848"/>
            <a:ext cx="6999828" cy="371170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03225" indent="-173038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600">
                <a:solidFill>
                  <a:schemeClr val="tx2"/>
                </a:solidFill>
              </a:defRPr>
            </a:lvl2pPr>
            <a:lvl3pPr marL="741363" indent="-173038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Text, Arial </a:t>
            </a:r>
            <a:r>
              <a:rPr lang="en-US" dirty="0" err="1"/>
              <a:t>18pt</a:t>
            </a:r>
            <a:r>
              <a:rPr lang="en-US" dirty="0"/>
              <a:t> middle blue</a:t>
            </a:r>
          </a:p>
          <a:p>
            <a:pPr lvl="1"/>
            <a:r>
              <a:rPr lang="en-US" dirty="0"/>
              <a:t>Second level, </a:t>
            </a:r>
            <a:r>
              <a:rPr lang="en-US" dirty="0" err="1"/>
              <a:t>16pt</a:t>
            </a:r>
            <a:r>
              <a:rPr lang="en-US" dirty="0"/>
              <a:t> middle blue</a:t>
            </a:r>
          </a:p>
          <a:p>
            <a:pPr lvl="2"/>
            <a:r>
              <a:rPr lang="en-US" dirty="0"/>
              <a:t>Third level, </a:t>
            </a:r>
            <a:r>
              <a:rPr lang="en-US" dirty="0" err="1"/>
              <a:t>14pt</a:t>
            </a:r>
            <a:r>
              <a:rPr lang="en-US" dirty="0"/>
              <a:t> middle blue</a:t>
            </a:r>
          </a:p>
        </p:txBody>
      </p:sp>
      <p:sp>
        <p:nvSpPr>
          <p:cNvPr id="31" name="Freeform 30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3" name="Freeform 32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4" name="Freeform 33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5" name="Freeform 34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6 July 2018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 userDrawn="1">
            <p:ph type="ftr" sz="quarter" idx="12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1" name="Slide Number Placeholder 5"/>
          <p:cNvSpPr>
            <a:spLocks noGrp="1"/>
          </p:cNvSpPr>
          <p:nvPr userDrawn="1">
            <p:ph type="sldNum" sz="quarter" idx="13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480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SML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463040" y="1463040"/>
            <a:ext cx="6634068" cy="316611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>
                <a:solidFill>
                  <a:schemeClr val="tx2"/>
                </a:solidFill>
              </a:defRPr>
            </a:lvl1pPr>
            <a:lvl2pPr marL="230188" indent="-230188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2400">
                <a:solidFill>
                  <a:schemeClr val="tx2"/>
                </a:solidFill>
              </a:defRPr>
            </a:lvl2pPr>
            <a:lvl3pPr marL="741363" indent="-173038">
              <a:spcBef>
                <a:spcPts val="0"/>
              </a:spcBef>
              <a:spcAft>
                <a:spcPts val="600"/>
              </a:spcAft>
              <a:defRPr sz="2800">
                <a:solidFill>
                  <a:schemeClr val="tx2"/>
                </a:solidFill>
              </a:defRPr>
            </a:lvl3pPr>
          </a:lstStyle>
          <a:p>
            <a:pPr lvl="1"/>
            <a:r>
              <a:rPr lang="en-US" dirty="0"/>
              <a:t>Agenda item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097280" y="1069848"/>
            <a:ext cx="2362200" cy="28270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39" name="Freeform 38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0" name="Freeform 39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1" name="Freeform 40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2" name="Freeform 41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3" name="Freeform 42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6 July 2018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8155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97280" y="2011680"/>
            <a:ext cx="4572000" cy="43088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hapter item</a:t>
            </a:r>
          </a:p>
        </p:txBody>
      </p:sp>
      <p:sp>
        <p:nvSpPr>
          <p:cNvPr id="34" name="Rectangle 33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36" name="Freeform 35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7" name="Freeform 36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8" name="Freeform 37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9" name="Freeform 38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0" name="Freeform 39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1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6 July 2018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404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Fig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15200" cy="5570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  <a:br>
              <a:rPr lang="en-US" dirty="0"/>
            </a:b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/>
          </p:nvPr>
        </p:nvSpPr>
        <p:spPr>
          <a:xfrm>
            <a:off x="733425" y="1069848"/>
            <a:ext cx="7267575" cy="3787902"/>
          </a:xfrm>
          <a:prstGeom prst="rect">
            <a:avLst/>
          </a:prstGeom>
          <a:effectLst>
            <a:outerShdw blurRad="127000" dist="50800" dir="2700000" algn="tl" rotWithShape="0">
              <a:schemeClr val="accent3">
                <a:alpha val="80000"/>
              </a:schemeClr>
            </a:outerShdw>
            <a:reflection blurRad="6350" stA="52000" endA="300" endPos="35000" dir="5400000" sy="-100000" algn="bl" rotWithShape="0"/>
          </a:effectLst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38" name="Freeform 37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9" name="Freeform 38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0" name="Freeform 39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1" name="Freeform 40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2" name="Freeform 41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6 July 2018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219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Picture backgrou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sp>
        <p:nvSpPr>
          <p:cNvPr id="1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402336" y="1"/>
            <a:ext cx="7754112" cy="5148072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5"/>
          <p:cNvSpPr>
            <a:spLocks noGrp="1"/>
          </p:cNvSpPr>
          <p:nvPr>
            <p:ph type="title" hasCustomPrompt="1"/>
          </p:nvPr>
        </p:nvSpPr>
        <p:spPr>
          <a:xfrm>
            <a:off x="731520" y="347472"/>
            <a:ext cx="7315200" cy="54864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ext title, Arial </a:t>
            </a:r>
            <a:r>
              <a:rPr lang="en-US" dirty="0" err="1"/>
              <a:t>24pt</a:t>
            </a:r>
            <a:r>
              <a:rPr lang="en-US" dirty="0"/>
              <a:t> dark gray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8305800" y="133350"/>
            <a:ext cx="7620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/>
          <p:cNvSpPr/>
          <p:nvPr userDrawn="1"/>
        </p:nvSpPr>
        <p:spPr>
          <a:xfrm>
            <a:off x="8320087" y="164783"/>
            <a:ext cx="170905" cy="182992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8" name="Freeform 37"/>
          <p:cNvSpPr/>
          <p:nvPr userDrawn="1"/>
        </p:nvSpPr>
        <p:spPr>
          <a:xfrm>
            <a:off x="8653685" y="164584"/>
            <a:ext cx="208171" cy="182993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9" name="Freeform 38"/>
          <p:cNvSpPr/>
          <p:nvPr userDrawn="1"/>
        </p:nvSpPr>
        <p:spPr>
          <a:xfrm>
            <a:off x="8887233" y="164981"/>
            <a:ext cx="116972" cy="182397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0" name="Freeform 39"/>
          <p:cNvSpPr/>
          <p:nvPr userDrawn="1"/>
        </p:nvSpPr>
        <p:spPr>
          <a:xfrm>
            <a:off x="8502102" y="201462"/>
            <a:ext cx="135419" cy="149888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1" name="Freeform 40"/>
          <p:cNvSpPr/>
          <p:nvPr userDrawn="1"/>
        </p:nvSpPr>
        <p:spPr>
          <a:xfrm>
            <a:off x="8504651" y="159540"/>
            <a:ext cx="118940" cy="68882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0050" cy="5143500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11"/>
          </p:nvPr>
        </p:nvSpPr>
        <p:spPr>
          <a:xfrm>
            <a:off x="8252230" y="862398"/>
            <a:ext cx="751973" cy="914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19E589B-AAA2-4E83-AFD3-2993C58A57EE}" type="datetime3">
              <a:rPr lang="en-US" smtClean="0"/>
              <a:pPr/>
              <a:t>16 July 2018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8252229" y="563395"/>
            <a:ext cx="751973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8252230" y="733787"/>
            <a:ext cx="751249" cy="914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lide </a:t>
            </a:r>
            <a:fld id="{2BF23E3A-8558-42B9-AEEE-59D910584A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530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ML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7" descr="bg_b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7" name="Freeform 26"/>
          <p:cNvSpPr/>
          <p:nvPr userDrawn="1"/>
        </p:nvSpPr>
        <p:spPr>
          <a:xfrm>
            <a:off x="504443" y="2938356"/>
            <a:ext cx="542378" cy="580739"/>
          </a:xfrm>
          <a:custGeom>
            <a:avLst/>
            <a:gdLst>
              <a:gd name="connsiteX0" fmla="*/ 0 w 1097756"/>
              <a:gd name="connsiteY0" fmla="*/ 0 h 1181100"/>
              <a:gd name="connsiteX1" fmla="*/ 745331 w 1097756"/>
              <a:gd name="connsiteY1" fmla="*/ 0 h 1181100"/>
              <a:gd name="connsiteX2" fmla="*/ 1097756 w 1097756"/>
              <a:gd name="connsiteY2" fmla="*/ 1178718 h 1181100"/>
              <a:gd name="connsiteX3" fmla="*/ 523875 w 1097756"/>
              <a:gd name="connsiteY3" fmla="*/ 1181100 h 1181100"/>
              <a:gd name="connsiteX4" fmla="*/ 0 w 1097756"/>
              <a:gd name="connsiteY4" fmla="*/ 0 h 1181100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523875 w 1400175"/>
              <a:gd name="connsiteY3" fmla="*/ 1181100 h 2197893"/>
              <a:gd name="connsiteX4" fmla="*/ 0 w 1400175"/>
              <a:gd name="connsiteY4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1047750 w 1400175"/>
              <a:gd name="connsiteY3" fmla="*/ 1790700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50094 w 1400175"/>
              <a:gd name="connsiteY3" fmla="*/ 2193131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523875 w 1400175"/>
              <a:gd name="connsiteY4" fmla="*/ 1181100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0 w 1400175"/>
              <a:gd name="connsiteY5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230981 w 1400175"/>
              <a:gd name="connsiteY5" fmla="*/ 295275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95262 w 1400175"/>
              <a:gd name="connsiteY5" fmla="*/ 1204913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0 w 1400175"/>
              <a:gd name="connsiteY6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135731 w 1400175"/>
              <a:gd name="connsiteY6" fmla="*/ 1102518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0 w 1400175"/>
              <a:gd name="connsiteY7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378619 w 1400175"/>
              <a:gd name="connsiteY7" fmla="*/ 862012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0 w 1400175"/>
              <a:gd name="connsiteY8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426244 w 1400175"/>
              <a:gd name="connsiteY8" fmla="*/ 1112043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52388 w 1400175"/>
              <a:gd name="connsiteY9" fmla="*/ 1131093 h 2197893"/>
              <a:gd name="connsiteX10" fmla="*/ 0 w 1400175"/>
              <a:gd name="connsiteY10" fmla="*/ 0 h 2197893"/>
              <a:gd name="connsiteX0" fmla="*/ 0 w 1400175"/>
              <a:gd name="connsiteY0" fmla="*/ 0 h 2197893"/>
              <a:gd name="connsiteX1" fmla="*/ 745331 w 1400175"/>
              <a:gd name="connsiteY1" fmla="*/ 0 h 2197893"/>
              <a:gd name="connsiteX2" fmla="*/ 1400175 w 1400175"/>
              <a:gd name="connsiteY2" fmla="*/ 2197893 h 2197893"/>
              <a:gd name="connsiteX3" fmla="*/ 747713 w 1400175"/>
              <a:gd name="connsiteY3" fmla="*/ 2195512 h 2197893"/>
              <a:gd name="connsiteX4" fmla="*/ 371475 w 1400175"/>
              <a:gd name="connsiteY4" fmla="*/ 478631 h 2197893"/>
              <a:gd name="connsiteX5" fmla="*/ 173830 w 1400175"/>
              <a:gd name="connsiteY5" fmla="*/ 1383507 h 2197893"/>
              <a:gd name="connsiteX6" fmla="*/ 609600 w 1400175"/>
              <a:gd name="connsiteY6" fmla="*/ 1385887 h 2197893"/>
              <a:gd name="connsiteX7" fmla="*/ 692944 w 1400175"/>
              <a:gd name="connsiteY7" fmla="*/ 1797843 h 2197893"/>
              <a:gd name="connsiteX8" fmla="*/ 88106 w 1400175"/>
              <a:gd name="connsiteY8" fmla="*/ 1795462 h 2197893"/>
              <a:gd name="connsiteX9" fmla="*/ 0 w 1400175"/>
              <a:gd name="connsiteY9" fmla="*/ 2197893 h 2197893"/>
              <a:gd name="connsiteX10" fmla="*/ 0 w 1400175"/>
              <a:gd name="connsiteY10" fmla="*/ 0 h 2197893"/>
              <a:gd name="connsiteX0" fmla="*/ 4762 w 1404937"/>
              <a:gd name="connsiteY0" fmla="*/ 0 h 2197893"/>
              <a:gd name="connsiteX1" fmla="*/ 750093 w 1404937"/>
              <a:gd name="connsiteY1" fmla="*/ 0 h 2197893"/>
              <a:gd name="connsiteX2" fmla="*/ 1404937 w 1404937"/>
              <a:gd name="connsiteY2" fmla="*/ 2197893 h 2197893"/>
              <a:gd name="connsiteX3" fmla="*/ 752475 w 1404937"/>
              <a:gd name="connsiteY3" fmla="*/ 2195512 h 2197893"/>
              <a:gd name="connsiteX4" fmla="*/ 376237 w 1404937"/>
              <a:gd name="connsiteY4" fmla="*/ 478631 h 2197893"/>
              <a:gd name="connsiteX5" fmla="*/ 178592 w 1404937"/>
              <a:gd name="connsiteY5" fmla="*/ 1383507 h 2197893"/>
              <a:gd name="connsiteX6" fmla="*/ 614362 w 1404937"/>
              <a:gd name="connsiteY6" fmla="*/ 1385887 h 2197893"/>
              <a:gd name="connsiteX7" fmla="*/ 697706 w 1404937"/>
              <a:gd name="connsiteY7" fmla="*/ 1797843 h 2197893"/>
              <a:gd name="connsiteX8" fmla="*/ 92868 w 1404937"/>
              <a:gd name="connsiteY8" fmla="*/ 1795462 h 2197893"/>
              <a:gd name="connsiteX9" fmla="*/ 4762 w 1404937"/>
              <a:gd name="connsiteY9" fmla="*/ 2197893 h 2197893"/>
              <a:gd name="connsiteX10" fmla="*/ 0 w 1404937"/>
              <a:gd name="connsiteY10" fmla="*/ 2045493 h 2197893"/>
              <a:gd name="connsiteX11" fmla="*/ 4762 w 1404937"/>
              <a:gd name="connsiteY11" fmla="*/ 0 h 2197893"/>
              <a:gd name="connsiteX0" fmla="*/ 652462 w 2052637"/>
              <a:gd name="connsiteY0" fmla="*/ 0 h 2197893"/>
              <a:gd name="connsiteX1" fmla="*/ 1397793 w 2052637"/>
              <a:gd name="connsiteY1" fmla="*/ 0 h 2197893"/>
              <a:gd name="connsiteX2" fmla="*/ 2052637 w 2052637"/>
              <a:gd name="connsiteY2" fmla="*/ 2197893 h 2197893"/>
              <a:gd name="connsiteX3" fmla="*/ 1400175 w 2052637"/>
              <a:gd name="connsiteY3" fmla="*/ 2195512 h 2197893"/>
              <a:gd name="connsiteX4" fmla="*/ 1023937 w 2052637"/>
              <a:gd name="connsiteY4" fmla="*/ 478631 h 2197893"/>
              <a:gd name="connsiteX5" fmla="*/ 826292 w 2052637"/>
              <a:gd name="connsiteY5" fmla="*/ 1383507 h 2197893"/>
              <a:gd name="connsiteX6" fmla="*/ 1262062 w 2052637"/>
              <a:gd name="connsiteY6" fmla="*/ 1385887 h 2197893"/>
              <a:gd name="connsiteX7" fmla="*/ 1345406 w 2052637"/>
              <a:gd name="connsiteY7" fmla="*/ 1797843 h 2197893"/>
              <a:gd name="connsiteX8" fmla="*/ 740568 w 2052637"/>
              <a:gd name="connsiteY8" fmla="*/ 1795462 h 2197893"/>
              <a:gd name="connsiteX9" fmla="*/ 652462 w 2052637"/>
              <a:gd name="connsiteY9" fmla="*/ 2197893 h 2197893"/>
              <a:gd name="connsiteX10" fmla="*/ 0 w 2052637"/>
              <a:gd name="connsiteY10" fmla="*/ 2193131 h 2197893"/>
              <a:gd name="connsiteX11" fmla="*/ 652462 w 2052637"/>
              <a:gd name="connsiteY11" fmla="*/ 0 h 2197893"/>
              <a:gd name="connsiteX0" fmla="*/ 652462 w 2052637"/>
              <a:gd name="connsiteY0" fmla="*/ 1 h 2197894"/>
              <a:gd name="connsiteX1" fmla="*/ 1397793 w 2052637"/>
              <a:gd name="connsiteY1" fmla="*/ 1 h 2197894"/>
              <a:gd name="connsiteX2" fmla="*/ 2052637 w 2052637"/>
              <a:gd name="connsiteY2" fmla="*/ 2197894 h 2197894"/>
              <a:gd name="connsiteX3" fmla="*/ 1400175 w 2052637"/>
              <a:gd name="connsiteY3" fmla="*/ 2195513 h 2197894"/>
              <a:gd name="connsiteX4" fmla="*/ 1023937 w 2052637"/>
              <a:gd name="connsiteY4" fmla="*/ 478632 h 2197894"/>
              <a:gd name="connsiteX5" fmla="*/ 826292 w 2052637"/>
              <a:gd name="connsiteY5" fmla="*/ 1383508 h 2197894"/>
              <a:gd name="connsiteX6" fmla="*/ 1262062 w 2052637"/>
              <a:gd name="connsiteY6" fmla="*/ 1385888 h 2197894"/>
              <a:gd name="connsiteX7" fmla="*/ 1345406 w 2052637"/>
              <a:gd name="connsiteY7" fmla="*/ 1797844 h 2197894"/>
              <a:gd name="connsiteX8" fmla="*/ 740568 w 2052637"/>
              <a:gd name="connsiteY8" fmla="*/ 1795463 h 2197894"/>
              <a:gd name="connsiteX9" fmla="*/ 652462 w 2052637"/>
              <a:gd name="connsiteY9" fmla="*/ 2197894 h 2197894"/>
              <a:gd name="connsiteX10" fmla="*/ 0 w 2052637"/>
              <a:gd name="connsiteY10" fmla="*/ 2193132 h 2197894"/>
              <a:gd name="connsiteX11" fmla="*/ 652462 w 2052637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62133 w 2052708"/>
              <a:gd name="connsiteY6" fmla="*/ 1385888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45477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4508 w 2052708"/>
              <a:gd name="connsiteY6" fmla="*/ 1383506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19271 w 2052708"/>
              <a:gd name="connsiteY6" fmla="*/ 1376363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7844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  <a:gd name="connsiteX0" fmla="*/ 652533 w 2052708"/>
              <a:gd name="connsiteY0" fmla="*/ 1 h 2197894"/>
              <a:gd name="connsiteX1" fmla="*/ 1397864 w 2052708"/>
              <a:gd name="connsiteY1" fmla="*/ 1 h 2197894"/>
              <a:gd name="connsiteX2" fmla="*/ 2052708 w 2052708"/>
              <a:gd name="connsiteY2" fmla="*/ 2197894 h 2197894"/>
              <a:gd name="connsiteX3" fmla="*/ 1400246 w 2052708"/>
              <a:gd name="connsiteY3" fmla="*/ 2195513 h 2197894"/>
              <a:gd name="connsiteX4" fmla="*/ 1024008 w 2052708"/>
              <a:gd name="connsiteY4" fmla="*/ 478632 h 2197894"/>
              <a:gd name="connsiteX5" fmla="*/ 826363 w 2052708"/>
              <a:gd name="connsiteY5" fmla="*/ 1383508 h 2197894"/>
              <a:gd name="connsiteX6" fmla="*/ 1221653 w 2052708"/>
              <a:gd name="connsiteY6" fmla="*/ 1383507 h 2197894"/>
              <a:gd name="connsiteX7" fmla="*/ 1312139 w 2052708"/>
              <a:gd name="connsiteY7" fmla="*/ 1795463 h 2197894"/>
              <a:gd name="connsiteX8" fmla="*/ 740639 w 2052708"/>
              <a:gd name="connsiteY8" fmla="*/ 1795463 h 2197894"/>
              <a:gd name="connsiteX9" fmla="*/ 652533 w 2052708"/>
              <a:gd name="connsiteY9" fmla="*/ 2197894 h 2197894"/>
              <a:gd name="connsiteX10" fmla="*/ 71 w 2052708"/>
              <a:gd name="connsiteY10" fmla="*/ 2193132 h 2197894"/>
              <a:gd name="connsiteX11" fmla="*/ 652533 w 2052708"/>
              <a:gd name="connsiteY11" fmla="*/ 1 h 219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2708" h="2197894">
                <a:moveTo>
                  <a:pt x="652533" y="1"/>
                </a:moveTo>
                <a:lnTo>
                  <a:pt x="1397864" y="1"/>
                </a:lnTo>
                <a:lnTo>
                  <a:pt x="2052708" y="2197894"/>
                </a:lnTo>
                <a:lnTo>
                  <a:pt x="1400246" y="2195513"/>
                </a:lnTo>
                <a:lnTo>
                  <a:pt x="1024008" y="478632"/>
                </a:lnTo>
                <a:lnTo>
                  <a:pt x="826363" y="1383508"/>
                </a:lnTo>
                <a:lnTo>
                  <a:pt x="1221653" y="1383507"/>
                </a:lnTo>
                <a:lnTo>
                  <a:pt x="1312139" y="1795463"/>
                </a:lnTo>
                <a:lnTo>
                  <a:pt x="740639" y="1795463"/>
                </a:lnTo>
                <a:lnTo>
                  <a:pt x="652533" y="2197894"/>
                </a:lnTo>
                <a:lnTo>
                  <a:pt x="71" y="2193132"/>
                </a:lnTo>
                <a:cubicBezTo>
                  <a:pt x="-7867" y="2197101"/>
                  <a:pt x="648565" y="-1587"/>
                  <a:pt x="652533" y="1"/>
                </a:cubicBezTo>
                <a:close/>
              </a:path>
            </a:pathLst>
          </a:custGeom>
          <a:solidFill>
            <a:srgbClr val="0F23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28" name="Freeform 27"/>
          <p:cNvSpPr/>
          <p:nvPr userDrawn="1"/>
        </p:nvSpPr>
        <p:spPr>
          <a:xfrm>
            <a:off x="1563140" y="2937726"/>
            <a:ext cx="660645" cy="580741"/>
          </a:xfrm>
          <a:custGeom>
            <a:avLst/>
            <a:gdLst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0 w 688182"/>
              <a:gd name="connsiteY3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214313 w 688182"/>
              <a:gd name="connsiteY3" fmla="*/ 652463 h 950119"/>
              <a:gd name="connsiteX4" fmla="*/ 0 w 688182"/>
              <a:gd name="connsiteY4" fmla="*/ 950119 h 950119"/>
              <a:gd name="connsiteX0" fmla="*/ 0 w 688182"/>
              <a:gd name="connsiteY0" fmla="*/ 950119 h 950119"/>
              <a:gd name="connsiteX1" fmla="*/ 611982 w 688182"/>
              <a:gd name="connsiteY1" fmla="*/ 950119 h 950119"/>
              <a:gd name="connsiteX2" fmla="*/ 688182 w 688182"/>
              <a:gd name="connsiteY2" fmla="*/ 0 h 950119"/>
              <a:gd name="connsiteX3" fmla="*/ 111919 w 688182"/>
              <a:gd name="connsiteY3" fmla="*/ 95250 h 950119"/>
              <a:gd name="connsiteX4" fmla="*/ 0 w 688182"/>
              <a:gd name="connsiteY4" fmla="*/ 950119 h 950119"/>
              <a:gd name="connsiteX0" fmla="*/ 0 w 723900"/>
              <a:gd name="connsiteY0" fmla="*/ 1395413 h 1395413"/>
              <a:gd name="connsiteX1" fmla="*/ 611982 w 723900"/>
              <a:gd name="connsiteY1" fmla="*/ 1395413 h 1395413"/>
              <a:gd name="connsiteX2" fmla="*/ 723900 w 723900"/>
              <a:gd name="connsiteY2" fmla="*/ 0 h 1395413"/>
              <a:gd name="connsiteX3" fmla="*/ 111919 w 723900"/>
              <a:gd name="connsiteY3" fmla="*/ 540544 h 1395413"/>
              <a:gd name="connsiteX4" fmla="*/ 0 w 723900"/>
              <a:gd name="connsiteY4" fmla="*/ 1395413 h 1395413"/>
              <a:gd name="connsiteX0" fmla="*/ 0 w 723900"/>
              <a:gd name="connsiteY0" fmla="*/ 2031206 h 2031206"/>
              <a:gd name="connsiteX1" fmla="*/ 611982 w 723900"/>
              <a:gd name="connsiteY1" fmla="*/ 2031206 h 2031206"/>
              <a:gd name="connsiteX2" fmla="*/ 723900 w 723900"/>
              <a:gd name="connsiteY2" fmla="*/ 635793 h 2031206"/>
              <a:gd name="connsiteX3" fmla="*/ 266700 w 723900"/>
              <a:gd name="connsiteY3" fmla="*/ 0 h 2031206"/>
              <a:gd name="connsiteX4" fmla="*/ 0 w 723900"/>
              <a:gd name="connsiteY4" fmla="*/ 2031206 h 2031206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283369 w 723900"/>
              <a:gd name="connsiteY3" fmla="*/ 0 h 2195513"/>
              <a:gd name="connsiteX4" fmla="*/ 0 w 723900"/>
              <a:gd name="connsiteY4" fmla="*/ 2195513 h 2195513"/>
              <a:gd name="connsiteX0" fmla="*/ 0 w 723900"/>
              <a:gd name="connsiteY0" fmla="*/ 2195513 h 2195513"/>
              <a:gd name="connsiteX1" fmla="*/ 611982 w 723900"/>
              <a:gd name="connsiteY1" fmla="*/ 2195513 h 2195513"/>
              <a:gd name="connsiteX2" fmla="*/ 723900 w 723900"/>
              <a:gd name="connsiteY2" fmla="*/ 800100 h 2195513"/>
              <a:gd name="connsiteX3" fmla="*/ 500063 w 723900"/>
              <a:gd name="connsiteY3" fmla="*/ 388145 h 2195513"/>
              <a:gd name="connsiteX4" fmla="*/ 283369 w 723900"/>
              <a:gd name="connsiteY4" fmla="*/ 0 h 2195513"/>
              <a:gd name="connsiteX5" fmla="*/ 0 w 723900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945356 w 945356"/>
              <a:gd name="connsiteY3" fmla="*/ 2382 h 2195513"/>
              <a:gd name="connsiteX4" fmla="*/ 283369 w 945356"/>
              <a:gd name="connsiteY4" fmla="*/ 0 h 2195513"/>
              <a:gd name="connsiteX5" fmla="*/ 0 w 945356"/>
              <a:gd name="connsiteY5" fmla="*/ 2195513 h 2195513"/>
              <a:gd name="connsiteX0" fmla="*/ 0 w 945356"/>
              <a:gd name="connsiteY0" fmla="*/ 2195513 h 2195513"/>
              <a:gd name="connsiteX1" fmla="*/ 611982 w 945356"/>
              <a:gd name="connsiteY1" fmla="*/ 2195513 h 2195513"/>
              <a:gd name="connsiteX2" fmla="*/ 723900 w 945356"/>
              <a:gd name="connsiteY2" fmla="*/ 800100 h 2195513"/>
              <a:gd name="connsiteX3" fmla="*/ 790575 w 945356"/>
              <a:gd name="connsiteY3" fmla="*/ 545308 h 2195513"/>
              <a:gd name="connsiteX4" fmla="*/ 945356 w 945356"/>
              <a:gd name="connsiteY4" fmla="*/ 2382 h 2195513"/>
              <a:gd name="connsiteX5" fmla="*/ 283369 w 945356"/>
              <a:gd name="connsiteY5" fmla="*/ 0 h 2195513"/>
              <a:gd name="connsiteX6" fmla="*/ 0 w 945356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252537 w 1252537"/>
              <a:gd name="connsiteY3" fmla="*/ 1333501 h 2195513"/>
              <a:gd name="connsiteX4" fmla="*/ 945356 w 1252537"/>
              <a:gd name="connsiteY4" fmla="*/ 2382 h 2195513"/>
              <a:gd name="connsiteX5" fmla="*/ 283369 w 1252537"/>
              <a:gd name="connsiteY5" fmla="*/ 0 h 2195513"/>
              <a:gd name="connsiteX6" fmla="*/ 0 w 1252537"/>
              <a:gd name="connsiteY6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31082 w 1252537"/>
              <a:gd name="connsiteY3" fmla="*/ 1112045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252537 w 1252537"/>
              <a:gd name="connsiteY4" fmla="*/ 1333501 h 2195513"/>
              <a:gd name="connsiteX5" fmla="*/ 945356 w 1252537"/>
              <a:gd name="connsiteY5" fmla="*/ 2382 h 2195513"/>
              <a:gd name="connsiteX6" fmla="*/ 283369 w 1252537"/>
              <a:gd name="connsiteY6" fmla="*/ 0 h 2195513"/>
              <a:gd name="connsiteX7" fmla="*/ 0 w 1252537"/>
              <a:gd name="connsiteY7" fmla="*/ 2195513 h 2195513"/>
              <a:gd name="connsiteX0" fmla="*/ 0 w 1252537"/>
              <a:gd name="connsiteY0" fmla="*/ 2195513 h 2195513"/>
              <a:gd name="connsiteX1" fmla="*/ 611982 w 1252537"/>
              <a:gd name="connsiteY1" fmla="*/ 2195513 h 2195513"/>
              <a:gd name="connsiteX2" fmla="*/ 723900 w 1252537"/>
              <a:gd name="connsiteY2" fmla="*/ 800100 h 2195513"/>
              <a:gd name="connsiteX3" fmla="*/ 1007270 w 1252537"/>
              <a:gd name="connsiteY3" fmla="*/ 2193132 h 2195513"/>
              <a:gd name="connsiteX4" fmla="*/ 1173957 w 1252537"/>
              <a:gd name="connsiteY4" fmla="*/ 1600202 h 2195513"/>
              <a:gd name="connsiteX5" fmla="*/ 1252537 w 1252537"/>
              <a:gd name="connsiteY5" fmla="*/ 1333501 h 2195513"/>
              <a:gd name="connsiteX6" fmla="*/ 945356 w 1252537"/>
              <a:gd name="connsiteY6" fmla="*/ 2382 h 2195513"/>
              <a:gd name="connsiteX7" fmla="*/ 283369 w 1252537"/>
              <a:gd name="connsiteY7" fmla="*/ 0 h 2195513"/>
              <a:gd name="connsiteX8" fmla="*/ 0 w 1252537"/>
              <a:gd name="connsiteY8" fmla="*/ 2195513 h 2195513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252537 w 1488282"/>
              <a:gd name="connsiteY5" fmla="*/ 1333501 h 2195514"/>
              <a:gd name="connsiteX6" fmla="*/ 945356 w 1488282"/>
              <a:gd name="connsiteY6" fmla="*/ 2382 h 2195514"/>
              <a:gd name="connsiteX7" fmla="*/ 283369 w 1488282"/>
              <a:gd name="connsiteY7" fmla="*/ 0 h 2195514"/>
              <a:gd name="connsiteX8" fmla="*/ 0 w 1488282"/>
              <a:gd name="connsiteY8" fmla="*/ 2195513 h 2195514"/>
              <a:gd name="connsiteX0" fmla="*/ 0 w 1488282"/>
              <a:gd name="connsiteY0" fmla="*/ 2195513 h 2195514"/>
              <a:gd name="connsiteX1" fmla="*/ 611982 w 1488282"/>
              <a:gd name="connsiteY1" fmla="*/ 2195513 h 2195514"/>
              <a:gd name="connsiteX2" fmla="*/ 723900 w 1488282"/>
              <a:gd name="connsiteY2" fmla="*/ 800100 h 2195514"/>
              <a:gd name="connsiteX3" fmla="*/ 1007270 w 1488282"/>
              <a:gd name="connsiteY3" fmla="*/ 2193132 h 2195514"/>
              <a:gd name="connsiteX4" fmla="*/ 1488282 w 1488282"/>
              <a:gd name="connsiteY4" fmla="*/ 2195514 h 2195514"/>
              <a:gd name="connsiteX5" fmla="*/ 1352549 w 1488282"/>
              <a:gd name="connsiteY5" fmla="*/ 1690688 h 2195514"/>
              <a:gd name="connsiteX6" fmla="*/ 1252537 w 1488282"/>
              <a:gd name="connsiteY6" fmla="*/ 1333501 h 2195514"/>
              <a:gd name="connsiteX7" fmla="*/ 945356 w 1488282"/>
              <a:gd name="connsiteY7" fmla="*/ 2382 h 2195514"/>
              <a:gd name="connsiteX8" fmla="*/ 283369 w 1488282"/>
              <a:gd name="connsiteY8" fmla="*/ 0 h 2195514"/>
              <a:gd name="connsiteX9" fmla="*/ 0 w 1488282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252537 w 1781174"/>
              <a:gd name="connsiteY6" fmla="*/ 1333501 h 2195514"/>
              <a:gd name="connsiteX7" fmla="*/ 945356 w 1781174"/>
              <a:gd name="connsiteY7" fmla="*/ 2382 h 2195514"/>
              <a:gd name="connsiteX8" fmla="*/ 283369 w 1781174"/>
              <a:gd name="connsiteY8" fmla="*/ 0 h 2195514"/>
              <a:gd name="connsiteX9" fmla="*/ 0 w 1781174"/>
              <a:gd name="connsiteY9" fmla="*/ 2195513 h 2195514"/>
              <a:gd name="connsiteX0" fmla="*/ 0 w 1781174"/>
              <a:gd name="connsiteY0" fmla="*/ 2195513 h 2195514"/>
              <a:gd name="connsiteX1" fmla="*/ 611982 w 1781174"/>
              <a:gd name="connsiteY1" fmla="*/ 2195513 h 2195514"/>
              <a:gd name="connsiteX2" fmla="*/ 723900 w 1781174"/>
              <a:gd name="connsiteY2" fmla="*/ 800100 h 2195514"/>
              <a:gd name="connsiteX3" fmla="*/ 1007270 w 1781174"/>
              <a:gd name="connsiteY3" fmla="*/ 2193132 h 2195514"/>
              <a:gd name="connsiteX4" fmla="*/ 1488282 w 1781174"/>
              <a:gd name="connsiteY4" fmla="*/ 2195514 h 2195514"/>
              <a:gd name="connsiteX5" fmla="*/ 1781174 w 1781174"/>
              <a:gd name="connsiteY5" fmla="*/ 792957 h 2195514"/>
              <a:gd name="connsiteX6" fmla="*/ 1528762 w 1781174"/>
              <a:gd name="connsiteY6" fmla="*/ 1052513 h 2195514"/>
              <a:gd name="connsiteX7" fmla="*/ 1252537 w 1781174"/>
              <a:gd name="connsiteY7" fmla="*/ 1333501 h 2195514"/>
              <a:gd name="connsiteX8" fmla="*/ 945356 w 1781174"/>
              <a:gd name="connsiteY8" fmla="*/ 2382 h 2195514"/>
              <a:gd name="connsiteX9" fmla="*/ 283369 w 1781174"/>
              <a:gd name="connsiteY9" fmla="*/ 0 h 2195514"/>
              <a:gd name="connsiteX10" fmla="*/ 0 w 1781174"/>
              <a:gd name="connsiteY10" fmla="*/ 2195513 h 2195514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559719 w 1781174"/>
              <a:gd name="connsiteY6" fmla="*/ 0 h 2197895"/>
              <a:gd name="connsiteX7" fmla="*/ 1252537 w 1781174"/>
              <a:gd name="connsiteY7" fmla="*/ 1335882 h 2197895"/>
              <a:gd name="connsiteX8" fmla="*/ 945356 w 1781174"/>
              <a:gd name="connsiteY8" fmla="*/ 4763 h 2197895"/>
              <a:gd name="connsiteX9" fmla="*/ 283369 w 1781174"/>
              <a:gd name="connsiteY9" fmla="*/ 2381 h 2197895"/>
              <a:gd name="connsiteX10" fmla="*/ 0 w 1781174"/>
              <a:gd name="connsiteY10" fmla="*/ 2197894 h 2197895"/>
              <a:gd name="connsiteX0" fmla="*/ 0 w 1781174"/>
              <a:gd name="connsiteY0" fmla="*/ 2197894 h 2197895"/>
              <a:gd name="connsiteX1" fmla="*/ 611982 w 1781174"/>
              <a:gd name="connsiteY1" fmla="*/ 2197894 h 2197895"/>
              <a:gd name="connsiteX2" fmla="*/ 723900 w 1781174"/>
              <a:gd name="connsiteY2" fmla="*/ 802481 h 2197895"/>
              <a:gd name="connsiteX3" fmla="*/ 1007270 w 1781174"/>
              <a:gd name="connsiteY3" fmla="*/ 2195513 h 2197895"/>
              <a:gd name="connsiteX4" fmla="*/ 1488282 w 1781174"/>
              <a:gd name="connsiteY4" fmla="*/ 2197895 h 2197895"/>
              <a:gd name="connsiteX5" fmla="*/ 1781174 w 1781174"/>
              <a:gd name="connsiteY5" fmla="*/ 795338 h 2197895"/>
              <a:gd name="connsiteX6" fmla="*/ 1688306 w 1781174"/>
              <a:gd name="connsiteY6" fmla="*/ 454820 h 2197895"/>
              <a:gd name="connsiteX7" fmla="*/ 1559719 w 1781174"/>
              <a:gd name="connsiteY7" fmla="*/ 0 h 2197895"/>
              <a:gd name="connsiteX8" fmla="*/ 1252537 w 1781174"/>
              <a:gd name="connsiteY8" fmla="*/ 1335882 h 2197895"/>
              <a:gd name="connsiteX9" fmla="*/ 945356 w 1781174"/>
              <a:gd name="connsiteY9" fmla="*/ 4763 h 2197895"/>
              <a:gd name="connsiteX10" fmla="*/ 283369 w 1781174"/>
              <a:gd name="connsiteY10" fmla="*/ 2381 h 2197895"/>
              <a:gd name="connsiteX11" fmla="*/ 0 w 1781174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212181 w 2212181"/>
              <a:gd name="connsiteY6" fmla="*/ 7145 h 2197895"/>
              <a:gd name="connsiteX7" fmla="*/ 1559719 w 2212181"/>
              <a:gd name="connsiteY7" fmla="*/ 0 h 2197895"/>
              <a:gd name="connsiteX8" fmla="*/ 1252537 w 2212181"/>
              <a:gd name="connsiteY8" fmla="*/ 1335882 h 2197895"/>
              <a:gd name="connsiteX9" fmla="*/ 945356 w 2212181"/>
              <a:gd name="connsiteY9" fmla="*/ 4763 h 2197895"/>
              <a:gd name="connsiteX10" fmla="*/ 283369 w 2212181"/>
              <a:gd name="connsiteY10" fmla="*/ 2381 h 2197895"/>
              <a:gd name="connsiteX11" fmla="*/ 0 w 2212181"/>
              <a:gd name="connsiteY11" fmla="*/ 2197894 h 2197895"/>
              <a:gd name="connsiteX0" fmla="*/ 0 w 2212181"/>
              <a:gd name="connsiteY0" fmla="*/ 2197894 h 2197895"/>
              <a:gd name="connsiteX1" fmla="*/ 611982 w 2212181"/>
              <a:gd name="connsiteY1" fmla="*/ 2197894 h 2197895"/>
              <a:gd name="connsiteX2" fmla="*/ 723900 w 2212181"/>
              <a:gd name="connsiteY2" fmla="*/ 802481 h 2197895"/>
              <a:gd name="connsiteX3" fmla="*/ 1007270 w 2212181"/>
              <a:gd name="connsiteY3" fmla="*/ 2195513 h 2197895"/>
              <a:gd name="connsiteX4" fmla="*/ 1488282 w 2212181"/>
              <a:gd name="connsiteY4" fmla="*/ 2197895 h 2197895"/>
              <a:gd name="connsiteX5" fmla="*/ 1781174 w 2212181"/>
              <a:gd name="connsiteY5" fmla="*/ 795338 h 2197895"/>
              <a:gd name="connsiteX6" fmla="*/ 2035968 w 2212181"/>
              <a:gd name="connsiteY6" fmla="*/ 328614 h 2197895"/>
              <a:gd name="connsiteX7" fmla="*/ 2212181 w 2212181"/>
              <a:gd name="connsiteY7" fmla="*/ 7145 h 2197895"/>
              <a:gd name="connsiteX8" fmla="*/ 1559719 w 2212181"/>
              <a:gd name="connsiteY8" fmla="*/ 0 h 2197895"/>
              <a:gd name="connsiteX9" fmla="*/ 1252537 w 2212181"/>
              <a:gd name="connsiteY9" fmla="*/ 1335882 h 2197895"/>
              <a:gd name="connsiteX10" fmla="*/ 945356 w 2212181"/>
              <a:gd name="connsiteY10" fmla="*/ 4763 h 2197895"/>
              <a:gd name="connsiteX11" fmla="*/ 283369 w 2212181"/>
              <a:gd name="connsiteY11" fmla="*/ 2381 h 2197895"/>
              <a:gd name="connsiteX12" fmla="*/ 0 w 2212181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500312 w 2500312"/>
              <a:gd name="connsiteY6" fmla="*/ 2197895 h 2197895"/>
              <a:gd name="connsiteX7" fmla="*/ 2212181 w 2500312"/>
              <a:gd name="connsiteY7" fmla="*/ 7145 h 2197895"/>
              <a:gd name="connsiteX8" fmla="*/ 1559719 w 2500312"/>
              <a:gd name="connsiteY8" fmla="*/ 0 h 2197895"/>
              <a:gd name="connsiteX9" fmla="*/ 1252537 w 2500312"/>
              <a:gd name="connsiteY9" fmla="*/ 1335882 h 2197895"/>
              <a:gd name="connsiteX10" fmla="*/ 945356 w 2500312"/>
              <a:gd name="connsiteY10" fmla="*/ 4763 h 2197895"/>
              <a:gd name="connsiteX11" fmla="*/ 283369 w 2500312"/>
              <a:gd name="connsiteY11" fmla="*/ 2381 h 2197895"/>
              <a:gd name="connsiteX12" fmla="*/ 0 w 2500312"/>
              <a:gd name="connsiteY12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2190748 w 2500312"/>
              <a:gd name="connsiteY6" fmla="*/ 1595439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81174 w 2500312"/>
              <a:gd name="connsiteY5" fmla="*/ 795338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  <a:gd name="connsiteX0" fmla="*/ 0 w 2500312"/>
              <a:gd name="connsiteY0" fmla="*/ 2197894 h 2197895"/>
              <a:gd name="connsiteX1" fmla="*/ 611982 w 2500312"/>
              <a:gd name="connsiteY1" fmla="*/ 2197894 h 2197895"/>
              <a:gd name="connsiteX2" fmla="*/ 723900 w 2500312"/>
              <a:gd name="connsiteY2" fmla="*/ 802481 h 2197895"/>
              <a:gd name="connsiteX3" fmla="*/ 1007270 w 2500312"/>
              <a:gd name="connsiteY3" fmla="*/ 2195513 h 2197895"/>
              <a:gd name="connsiteX4" fmla="*/ 1488282 w 2500312"/>
              <a:gd name="connsiteY4" fmla="*/ 2197895 h 2197895"/>
              <a:gd name="connsiteX5" fmla="*/ 1776411 w 2500312"/>
              <a:gd name="connsiteY5" fmla="*/ 809626 h 2197895"/>
              <a:gd name="connsiteX6" fmla="*/ 1883567 w 2500312"/>
              <a:gd name="connsiteY6" fmla="*/ 2195514 h 2197895"/>
              <a:gd name="connsiteX7" fmla="*/ 2500312 w 2500312"/>
              <a:gd name="connsiteY7" fmla="*/ 2197895 h 2197895"/>
              <a:gd name="connsiteX8" fmla="*/ 2212181 w 2500312"/>
              <a:gd name="connsiteY8" fmla="*/ 7145 h 2197895"/>
              <a:gd name="connsiteX9" fmla="*/ 1559719 w 2500312"/>
              <a:gd name="connsiteY9" fmla="*/ 0 h 2197895"/>
              <a:gd name="connsiteX10" fmla="*/ 1252537 w 2500312"/>
              <a:gd name="connsiteY10" fmla="*/ 1335882 h 2197895"/>
              <a:gd name="connsiteX11" fmla="*/ 945356 w 2500312"/>
              <a:gd name="connsiteY11" fmla="*/ 4763 h 2197895"/>
              <a:gd name="connsiteX12" fmla="*/ 283369 w 2500312"/>
              <a:gd name="connsiteY12" fmla="*/ 2381 h 2197895"/>
              <a:gd name="connsiteX13" fmla="*/ 0 w 2500312"/>
              <a:gd name="connsiteY13" fmla="*/ 2197894 h 2197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00312" h="2197895">
                <a:moveTo>
                  <a:pt x="0" y="2197894"/>
                </a:moveTo>
                <a:lnTo>
                  <a:pt x="611982" y="2197894"/>
                </a:lnTo>
                <a:lnTo>
                  <a:pt x="723900" y="802481"/>
                </a:lnTo>
                <a:lnTo>
                  <a:pt x="1007270" y="2195513"/>
                </a:lnTo>
                <a:lnTo>
                  <a:pt x="1488282" y="2197895"/>
                </a:lnTo>
                <a:lnTo>
                  <a:pt x="1776411" y="809626"/>
                </a:lnTo>
                <a:lnTo>
                  <a:pt x="1883567" y="2195514"/>
                </a:lnTo>
                <a:lnTo>
                  <a:pt x="2500312" y="2197895"/>
                </a:lnTo>
                <a:lnTo>
                  <a:pt x="2212181" y="7145"/>
                </a:lnTo>
                <a:lnTo>
                  <a:pt x="1559719" y="0"/>
                </a:lnTo>
                <a:lnTo>
                  <a:pt x="1252537" y="1335882"/>
                </a:lnTo>
                <a:lnTo>
                  <a:pt x="945356" y="4763"/>
                </a:lnTo>
                <a:lnTo>
                  <a:pt x="283369" y="2381"/>
                </a:lnTo>
                <a:lnTo>
                  <a:pt x="0" y="2197894"/>
                </a:ln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29" name="Freeform 28"/>
          <p:cNvSpPr/>
          <p:nvPr userDrawn="1"/>
        </p:nvSpPr>
        <p:spPr>
          <a:xfrm>
            <a:off x="2304321" y="2938984"/>
            <a:ext cx="371220" cy="578852"/>
          </a:xfrm>
          <a:custGeom>
            <a:avLst/>
            <a:gdLst>
              <a:gd name="connsiteX0" fmla="*/ 0 w 1428750"/>
              <a:gd name="connsiteY0" fmla="*/ 997744 h 997744"/>
              <a:gd name="connsiteX1" fmla="*/ 1404937 w 1428750"/>
              <a:gd name="connsiteY1" fmla="*/ 997744 h 997744"/>
              <a:gd name="connsiteX2" fmla="*/ 1404937 w 1428750"/>
              <a:gd name="connsiteY2" fmla="*/ 538163 h 997744"/>
              <a:gd name="connsiteX3" fmla="*/ 1428750 w 1428750"/>
              <a:gd name="connsiteY3" fmla="*/ 540544 h 997744"/>
              <a:gd name="connsiteX4" fmla="*/ 590550 w 1428750"/>
              <a:gd name="connsiteY4" fmla="*/ 540544 h 997744"/>
              <a:gd name="connsiteX5" fmla="*/ 590550 w 1428750"/>
              <a:gd name="connsiteY5" fmla="*/ 0 h 997744"/>
              <a:gd name="connsiteX6" fmla="*/ 0 w 1428750"/>
              <a:gd name="connsiteY6" fmla="*/ 0 h 997744"/>
              <a:gd name="connsiteX7" fmla="*/ 0 w 1428750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1219200 w 1404937"/>
              <a:gd name="connsiteY3" fmla="*/ 476250 h 997744"/>
              <a:gd name="connsiteX4" fmla="*/ 590550 w 1404937"/>
              <a:gd name="connsiteY4" fmla="*/ 540544 h 997744"/>
              <a:gd name="connsiteX5" fmla="*/ 590550 w 1404937"/>
              <a:gd name="connsiteY5" fmla="*/ 0 h 997744"/>
              <a:gd name="connsiteX6" fmla="*/ 0 w 1404937"/>
              <a:gd name="connsiteY6" fmla="*/ 0 h 997744"/>
              <a:gd name="connsiteX7" fmla="*/ 0 w 1404937"/>
              <a:gd name="connsiteY7" fmla="*/ 997744 h 997744"/>
              <a:gd name="connsiteX0" fmla="*/ 0 w 1404937"/>
              <a:gd name="connsiteY0" fmla="*/ 997744 h 997744"/>
              <a:gd name="connsiteX1" fmla="*/ 1404937 w 1404937"/>
              <a:gd name="connsiteY1" fmla="*/ 997744 h 997744"/>
              <a:gd name="connsiteX2" fmla="*/ 1404937 w 1404937"/>
              <a:gd name="connsiteY2" fmla="*/ 538163 h 997744"/>
              <a:gd name="connsiteX3" fmla="*/ 590550 w 1404937"/>
              <a:gd name="connsiteY3" fmla="*/ 540544 h 997744"/>
              <a:gd name="connsiteX4" fmla="*/ 590550 w 1404937"/>
              <a:gd name="connsiteY4" fmla="*/ 0 h 997744"/>
              <a:gd name="connsiteX5" fmla="*/ 0 w 1404937"/>
              <a:gd name="connsiteY5" fmla="*/ 0 h 997744"/>
              <a:gd name="connsiteX6" fmla="*/ 0 w 1404937"/>
              <a:gd name="connsiteY6" fmla="*/ 997744 h 997744"/>
              <a:gd name="connsiteX0" fmla="*/ 0 w 1404937"/>
              <a:gd name="connsiteY0" fmla="*/ 1614488 h 1614488"/>
              <a:gd name="connsiteX1" fmla="*/ 1404937 w 1404937"/>
              <a:gd name="connsiteY1" fmla="*/ 1614488 h 1614488"/>
              <a:gd name="connsiteX2" fmla="*/ 1404937 w 1404937"/>
              <a:gd name="connsiteY2" fmla="*/ 1154907 h 1614488"/>
              <a:gd name="connsiteX3" fmla="*/ 590550 w 1404937"/>
              <a:gd name="connsiteY3" fmla="*/ 1157288 h 1614488"/>
              <a:gd name="connsiteX4" fmla="*/ 592931 w 1404937"/>
              <a:gd name="connsiteY4" fmla="*/ 0 h 1614488"/>
              <a:gd name="connsiteX5" fmla="*/ 0 w 1404937"/>
              <a:gd name="connsiteY5" fmla="*/ 616744 h 1614488"/>
              <a:gd name="connsiteX6" fmla="*/ 0 w 1404937"/>
              <a:gd name="connsiteY6" fmla="*/ 1614488 h 1614488"/>
              <a:gd name="connsiteX0" fmla="*/ 0 w 1404937"/>
              <a:gd name="connsiteY0" fmla="*/ 2188369 h 2188369"/>
              <a:gd name="connsiteX1" fmla="*/ 1404937 w 1404937"/>
              <a:gd name="connsiteY1" fmla="*/ 2188369 h 2188369"/>
              <a:gd name="connsiteX2" fmla="*/ 1404937 w 1404937"/>
              <a:gd name="connsiteY2" fmla="*/ 1728788 h 2188369"/>
              <a:gd name="connsiteX3" fmla="*/ 590550 w 1404937"/>
              <a:gd name="connsiteY3" fmla="*/ 1731169 h 2188369"/>
              <a:gd name="connsiteX4" fmla="*/ 592931 w 1404937"/>
              <a:gd name="connsiteY4" fmla="*/ 573881 h 2188369"/>
              <a:gd name="connsiteX5" fmla="*/ 2382 w 1404937"/>
              <a:gd name="connsiteY5" fmla="*/ 0 h 2188369"/>
              <a:gd name="connsiteX6" fmla="*/ 0 w 1404937"/>
              <a:gd name="connsiteY6" fmla="*/ 2188369 h 2188369"/>
              <a:gd name="connsiteX0" fmla="*/ 0 w 1404937"/>
              <a:gd name="connsiteY0" fmla="*/ 2190750 h 2190750"/>
              <a:gd name="connsiteX1" fmla="*/ 1404937 w 1404937"/>
              <a:gd name="connsiteY1" fmla="*/ 2190750 h 2190750"/>
              <a:gd name="connsiteX2" fmla="*/ 1404937 w 1404937"/>
              <a:gd name="connsiteY2" fmla="*/ 1731169 h 2190750"/>
              <a:gd name="connsiteX3" fmla="*/ 590550 w 1404937"/>
              <a:gd name="connsiteY3" fmla="*/ 1733550 h 2190750"/>
              <a:gd name="connsiteX4" fmla="*/ 592931 w 1404937"/>
              <a:gd name="connsiteY4" fmla="*/ 0 h 2190750"/>
              <a:gd name="connsiteX5" fmla="*/ 2382 w 1404937"/>
              <a:gd name="connsiteY5" fmla="*/ 2381 h 2190750"/>
              <a:gd name="connsiteX6" fmla="*/ 0 w 1404937"/>
              <a:gd name="connsiteY6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937" h="2190750">
                <a:moveTo>
                  <a:pt x="0" y="2190750"/>
                </a:moveTo>
                <a:lnTo>
                  <a:pt x="1404937" y="2190750"/>
                </a:lnTo>
                <a:lnTo>
                  <a:pt x="1404937" y="1731169"/>
                </a:lnTo>
                <a:lnTo>
                  <a:pt x="590550" y="1733550"/>
                </a:lnTo>
                <a:cubicBezTo>
                  <a:pt x="591344" y="1347787"/>
                  <a:pt x="592137" y="385763"/>
                  <a:pt x="592931" y="0"/>
                </a:cubicBezTo>
                <a:lnTo>
                  <a:pt x="2382" y="2381"/>
                </a:lnTo>
                <a:cubicBezTo>
                  <a:pt x="3969" y="334962"/>
                  <a:pt x="3175" y="1858169"/>
                  <a:pt x="0" y="2190750"/>
                </a:cubicBezTo>
                <a:close/>
              </a:path>
            </a:pathLst>
          </a:custGeom>
          <a:solidFill>
            <a:srgbClr val="0F238D"/>
          </a:solidFill>
          <a:ln w="190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0" name="Freeform 29"/>
          <p:cNvSpPr/>
          <p:nvPr userDrawn="1"/>
        </p:nvSpPr>
        <p:spPr>
          <a:xfrm>
            <a:off x="1082055" y="3054754"/>
            <a:ext cx="429762" cy="475680"/>
          </a:xfrm>
          <a:custGeom>
            <a:avLst/>
            <a:gdLst>
              <a:gd name="connsiteX0" fmla="*/ 0 w 483394"/>
              <a:gd name="connsiteY0" fmla="*/ 0 h 645319"/>
              <a:gd name="connsiteX1" fmla="*/ 0 w 483394"/>
              <a:gd name="connsiteY1" fmla="*/ 528638 h 645319"/>
              <a:gd name="connsiteX2" fmla="*/ 33338 w 483394"/>
              <a:gd name="connsiteY2" fmla="*/ 528638 h 645319"/>
              <a:gd name="connsiteX3" fmla="*/ 381000 w 483394"/>
              <a:gd name="connsiteY3" fmla="*/ 645319 h 645319"/>
              <a:gd name="connsiteX4" fmla="*/ 483394 w 483394"/>
              <a:gd name="connsiteY4" fmla="*/ 216694 h 645319"/>
              <a:gd name="connsiteX5" fmla="*/ 0 w 483394"/>
              <a:gd name="connsiteY5" fmla="*/ 0 h 645319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33338 w 1626394"/>
              <a:gd name="connsiteY2" fmla="*/ 528638 h 528638"/>
              <a:gd name="connsiteX3" fmla="*/ 1626394 w 1626394"/>
              <a:gd name="connsiteY3" fmla="*/ 7144 h 528638"/>
              <a:gd name="connsiteX4" fmla="*/ 483394 w 1626394"/>
              <a:gd name="connsiteY4" fmla="*/ 216694 h 528638"/>
              <a:gd name="connsiteX5" fmla="*/ 0 w 1626394"/>
              <a:gd name="connsiteY5" fmla="*/ 0 h 528638"/>
              <a:gd name="connsiteX0" fmla="*/ 0 w 1626394"/>
              <a:gd name="connsiteY0" fmla="*/ 0 h 714375"/>
              <a:gd name="connsiteX1" fmla="*/ 0 w 1626394"/>
              <a:gd name="connsiteY1" fmla="*/ 528638 h 714375"/>
              <a:gd name="connsiteX2" fmla="*/ 354807 w 1626394"/>
              <a:gd name="connsiteY2" fmla="*/ 714375 h 714375"/>
              <a:gd name="connsiteX3" fmla="*/ 1626394 w 1626394"/>
              <a:gd name="connsiteY3" fmla="*/ 7144 h 714375"/>
              <a:gd name="connsiteX4" fmla="*/ 483394 w 1626394"/>
              <a:gd name="connsiteY4" fmla="*/ 216694 h 714375"/>
              <a:gd name="connsiteX5" fmla="*/ 0 w 1626394"/>
              <a:gd name="connsiteY5" fmla="*/ 0 h 714375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528638"/>
              <a:gd name="connsiteX1" fmla="*/ 0 w 1626394"/>
              <a:gd name="connsiteY1" fmla="*/ 528638 h 528638"/>
              <a:gd name="connsiteX2" fmla="*/ 1626394 w 1626394"/>
              <a:gd name="connsiteY2" fmla="*/ 7144 h 528638"/>
              <a:gd name="connsiteX3" fmla="*/ 483394 w 1626394"/>
              <a:gd name="connsiteY3" fmla="*/ 216694 h 528638"/>
              <a:gd name="connsiteX4" fmla="*/ 0 w 1626394"/>
              <a:gd name="connsiteY4" fmla="*/ 0 h 528638"/>
              <a:gd name="connsiteX0" fmla="*/ 0 w 1626394"/>
              <a:gd name="connsiteY0" fmla="*/ 0 h 681404"/>
              <a:gd name="connsiteX1" fmla="*/ 0 w 1626394"/>
              <a:gd name="connsiteY1" fmla="*/ 528638 h 681404"/>
              <a:gd name="connsiteX2" fmla="*/ 1626394 w 1626394"/>
              <a:gd name="connsiteY2" fmla="*/ 7144 h 681404"/>
              <a:gd name="connsiteX3" fmla="*/ 483394 w 1626394"/>
              <a:gd name="connsiteY3" fmla="*/ 216694 h 681404"/>
              <a:gd name="connsiteX4" fmla="*/ 0 w 1626394"/>
              <a:gd name="connsiteY4" fmla="*/ 0 h 681404"/>
              <a:gd name="connsiteX0" fmla="*/ 0 w 1626394"/>
              <a:gd name="connsiteY0" fmla="*/ 0 h 661055"/>
              <a:gd name="connsiteX1" fmla="*/ 0 w 1626394"/>
              <a:gd name="connsiteY1" fmla="*/ 528638 h 661055"/>
              <a:gd name="connsiteX2" fmla="*/ 1626394 w 1626394"/>
              <a:gd name="connsiteY2" fmla="*/ 7144 h 661055"/>
              <a:gd name="connsiteX3" fmla="*/ 483394 w 1626394"/>
              <a:gd name="connsiteY3" fmla="*/ 216694 h 661055"/>
              <a:gd name="connsiteX4" fmla="*/ 0 w 1626394"/>
              <a:gd name="connsiteY4" fmla="*/ 0 h 661055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483394 w 1626394"/>
              <a:gd name="connsiteY3" fmla="*/ 216694 h 678971"/>
              <a:gd name="connsiteX4" fmla="*/ 0 w 1626394"/>
              <a:gd name="connsiteY4" fmla="*/ 0 h 678971"/>
              <a:gd name="connsiteX0" fmla="*/ 0 w 1626394"/>
              <a:gd name="connsiteY0" fmla="*/ 0 h 678971"/>
              <a:gd name="connsiteX1" fmla="*/ 0 w 1626394"/>
              <a:gd name="connsiteY1" fmla="*/ 528638 h 678971"/>
              <a:gd name="connsiteX2" fmla="*/ 1626394 w 1626394"/>
              <a:gd name="connsiteY2" fmla="*/ 7144 h 678971"/>
              <a:gd name="connsiteX3" fmla="*/ 621506 w 1626394"/>
              <a:gd name="connsiteY3" fmla="*/ 233363 h 678971"/>
              <a:gd name="connsiteX4" fmla="*/ 0 w 1626394"/>
              <a:gd name="connsiteY4" fmla="*/ 0 h 67897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621506 w 1626394"/>
              <a:gd name="connsiteY3" fmla="*/ 238223 h 683831"/>
              <a:gd name="connsiteX4" fmla="*/ 0 w 1626394"/>
              <a:gd name="connsiteY4" fmla="*/ 4860 h 683831"/>
              <a:gd name="connsiteX0" fmla="*/ 0 w 1626394"/>
              <a:gd name="connsiteY0" fmla="*/ 4860 h 683831"/>
              <a:gd name="connsiteX1" fmla="*/ 0 w 1626394"/>
              <a:gd name="connsiteY1" fmla="*/ 533498 h 683831"/>
              <a:gd name="connsiteX2" fmla="*/ 1626394 w 1626394"/>
              <a:gd name="connsiteY2" fmla="*/ 12004 h 683831"/>
              <a:gd name="connsiteX3" fmla="*/ 1066800 w 1626394"/>
              <a:gd name="connsiteY3" fmla="*/ 135830 h 683831"/>
              <a:gd name="connsiteX4" fmla="*/ 621506 w 1626394"/>
              <a:gd name="connsiteY4" fmla="*/ 238223 h 683831"/>
              <a:gd name="connsiteX5" fmla="*/ 0 w 1626394"/>
              <a:gd name="connsiteY5" fmla="*/ 4860 h 683831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923925 w 1626394"/>
              <a:gd name="connsiteY3" fmla="*/ 0 h 790888"/>
              <a:gd name="connsiteX4" fmla="*/ 621506 w 1626394"/>
              <a:gd name="connsiteY4" fmla="*/ 345280 h 790888"/>
              <a:gd name="connsiteX5" fmla="*/ 0 w 1626394"/>
              <a:gd name="connsiteY5" fmla="*/ 111917 h 790888"/>
              <a:gd name="connsiteX0" fmla="*/ 0 w 1626394"/>
              <a:gd name="connsiteY0" fmla="*/ 111917 h 790888"/>
              <a:gd name="connsiteX1" fmla="*/ 0 w 1626394"/>
              <a:gd name="connsiteY1" fmla="*/ 640555 h 790888"/>
              <a:gd name="connsiteX2" fmla="*/ 1626394 w 1626394"/>
              <a:gd name="connsiteY2" fmla="*/ 119061 h 790888"/>
              <a:gd name="connsiteX3" fmla="*/ 1059656 w 1626394"/>
              <a:gd name="connsiteY3" fmla="*/ 23812 h 790888"/>
              <a:gd name="connsiteX4" fmla="*/ 923925 w 1626394"/>
              <a:gd name="connsiteY4" fmla="*/ 0 h 790888"/>
              <a:gd name="connsiteX5" fmla="*/ 621506 w 1626394"/>
              <a:gd name="connsiteY5" fmla="*/ 345280 h 790888"/>
              <a:gd name="connsiteX6" fmla="*/ 0 w 1626394"/>
              <a:gd name="connsiteY6" fmla="*/ 111917 h 790888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26394"/>
              <a:gd name="connsiteY0" fmla="*/ 538161 h 1217132"/>
              <a:gd name="connsiteX1" fmla="*/ 0 w 1626394"/>
              <a:gd name="connsiteY1" fmla="*/ 1066799 h 1217132"/>
              <a:gd name="connsiteX2" fmla="*/ 1626394 w 1626394"/>
              <a:gd name="connsiteY2" fmla="*/ 545305 h 1217132"/>
              <a:gd name="connsiteX3" fmla="*/ 1323974 w 1626394"/>
              <a:gd name="connsiteY3" fmla="*/ 0 h 1217132"/>
              <a:gd name="connsiteX4" fmla="*/ 923925 w 1626394"/>
              <a:gd name="connsiteY4" fmla="*/ 426244 h 1217132"/>
              <a:gd name="connsiteX5" fmla="*/ 621506 w 1626394"/>
              <a:gd name="connsiteY5" fmla="*/ 771524 h 1217132"/>
              <a:gd name="connsiteX6" fmla="*/ 0 w 1626394"/>
              <a:gd name="connsiteY6" fmla="*/ 538161 h 1217132"/>
              <a:gd name="connsiteX0" fmla="*/ 0 w 1635310"/>
              <a:gd name="connsiteY0" fmla="*/ 538161 h 1066802"/>
              <a:gd name="connsiteX1" fmla="*/ 0 w 1635310"/>
              <a:gd name="connsiteY1" fmla="*/ 1066799 h 1066802"/>
              <a:gd name="connsiteX2" fmla="*/ 1626394 w 1635310"/>
              <a:gd name="connsiteY2" fmla="*/ 545305 h 1066802"/>
              <a:gd name="connsiteX3" fmla="*/ 1323974 w 1635310"/>
              <a:gd name="connsiteY3" fmla="*/ 0 h 1066802"/>
              <a:gd name="connsiteX4" fmla="*/ 923925 w 1635310"/>
              <a:gd name="connsiteY4" fmla="*/ 426244 h 1066802"/>
              <a:gd name="connsiteX5" fmla="*/ 621506 w 1635310"/>
              <a:gd name="connsiteY5" fmla="*/ 771524 h 1066802"/>
              <a:gd name="connsiteX6" fmla="*/ 0 w 1635310"/>
              <a:gd name="connsiteY6" fmla="*/ 538161 h 1066802"/>
              <a:gd name="connsiteX0" fmla="*/ 0 w 1632620"/>
              <a:gd name="connsiteY0" fmla="*/ 538161 h 1083110"/>
              <a:gd name="connsiteX1" fmla="*/ 0 w 1632620"/>
              <a:gd name="connsiteY1" fmla="*/ 1066799 h 1083110"/>
              <a:gd name="connsiteX2" fmla="*/ 1626394 w 1632620"/>
              <a:gd name="connsiteY2" fmla="*/ 545305 h 1083110"/>
              <a:gd name="connsiteX3" fmla="*/ 1323974 w 1632620"/>
              <a:gd name="connsiteY3" fmla="*/ 0 h 1083110"/>
              <a:gd name="connsiteX4" fmla="*/ 923925 w 1632620"/>
              <a:gd name="connsiteY4" fmla="*/ 426244 h 1083110"/>
              <a:gd name="connsiteX5" fmla="*/ 621506 w 1632620"/>
              <a:gd name="connsiteY5" fmla="*/ 771524 h 1083110"/>
              <a:gd name="connsiteX6" fmla="*/ 0 w 1632620"/>
              <a:gd name="connsiteY6" fmla="*/ 538161 h 1083110"/>
              <a:gd name="connsiteX0" fmla="*/ 0 w 1638832"/>
              <a:gd name="connsiteY0" fmla="*/ 538161 h 1079262"/>
              <a:gd name="connsiteX1" fmla="*/ 0 w 1638832"/>
              <a:gd name="connsiteY1" fmla="*/ 1066799 h 1079262"/>
              <a:gd name="connsiteX2" fmla="*/ 1626394 w 1638832"/>
              <a:gd name="connsiteY2" fmla="*/ 545305 h 1079262"/>
              <a:gd name="connsiteX3" fmla="*/ 1323974 w 1638832"/>
              <a:gd name="connsiteY3" fmla="*/ 0 h 1079262"/>
              <a:gd name="connsiteX4" fmla="*/ 923925 w 1638832"/>
              <a:gd name="connsiteY4" fmla="*/ 426244 h 1079262"/>
              <a:gd name="connsiteX5" fmla="*/ 621506 w 1638832"/>
              <a:gd name="connsiteY5" fmla="*/ 771524 h 1079262"/>
              <a:gd name="connsiteX6" fmla="*/ 0 w 1638832"/>
              <a:gd name="connsiteY6" fmla="*/ 538161 h 1079262"/>
              <a:gd name="connsiteX0" fmla="*/ 0 w 1629379"/>
              <a:gd name="connsiteY0" fmla="*/ 538161 h 1066897"/>
              <a:gd name="connsiteX1" fmla="*/ 0 w 1629379"/>
              <a:gd name="connsiteY1" fmla="*/ 1066799 h 1066897"/>
              <a:gd name="connsiteX2" fmla="*/ 1616869 w 1629379"/>
              <a:gd name="connsiteY2" fmla="*/ 409574 h 1066897"/>
              <a:gd name="connsiteX3" fmla="*/ 1323974 w 1629379"/>
              <a:gd name="connsiteY3" fmla="*/ 0 h 1066897"/>
              <a:gd name="connsiteX4" fmla="*/ 923925 w 1629379"/>
              <a:gd name="connsiteY4" fmla="*/ 426244 h 1066897"/>
              <a:gd name="connsiteX5" fmla="*/ 621506 w 1629379"/>
              <a:gd name="connsiteY5" fmla="*/ 771524 h 1066897"/>
              <a:gd name="connsiteX6" fmla="*/ 0 w 1629379"/>
              <a:gd name="connsiteY6" fmla="*/ 538161 h 1066897"/>
              <a:gd name="connsiteX0" fmla="*/ 0 w 1620913"/>
              <a:gd name="connsiteY0" fmla="*/ 538161 h 1107877"/>
              <a:gd name="connsiteX1" fmla="*/ 0 w 1620913"/>
              <a:gd name="connsiteY1" fmla="*/ 1066799 h 1107877"/>
              <a:gd name="connsiteX2" fmla="*/ 1616869 w 1620913"/>
              <a:gd name="connsiteY2" fmla="*/ 409574 h 1107877"/>
              <a:gd name="connsiteX3" fmla="*/ 1323974 w 1620913"/>
              <a:gd name="connsiteY3" fmla="*/ 0 h 1107877"/>
              <a:gd name="connsiteX4" fmla="*/ 923925 w 1620913"/>
              <a:gd name="connsiteY4" fmla="*/ 426244 h 1107877"/>
              <a:gd name="connsiteX5" fmla="*/ 621506 w 1620913"/>
              <a:gd name="connsiteY5" fmla="*/ 771524 h 1107877"/>
              <a:gd name="connsiteX6" fmla="*/ 0 w 1620913"/>
              <a:gd name="connsiteY6" fmla="*/ 538161 h 1107877"/>
              <a:gd name="connsiteX0" fmla="*/ 0 w 1620913"/>
              <a:gd name="connsiteY0" fmla="*/ 538161 h 1218265"/>
              <a:gd name="connsiteX1" fmla="*/ 0 w 1620913"/>
              <a:gd name="connsiteY1" fmla="*/ 1066799 h 1218265"/>
              <a:gd name="connsiteX2" fmla="*/ 1616869 w 1620913"/>
              <a:gd name="connsiteY2" fmla="*/ 409574 h 1218265"/>
              <a:gd name="connsiteX3" fmla="*/ 1323974 w 1620913"/>
              <a:gd name="connsiteY3" fmla="*/ 0 h 1218265"/>
              <a:gd name="connsiteX4" fmla="*/ 923925 w 1620913"/>
              <a:gd name="connsiteY4" fmla="*/ 426244 h 1218265"/>
              <a:gd name="connsiteX5" fmla="*/ 621506 w 1620913"/>
              <a:gd name="connsiteY5" fmla="*/ 771524 h 1218265"/>
              <a:gd name="connsiteX6" fmla="*/ 0 w 1620913"/>
              <a:gd name="connsiteY6" fmla="*/ 538161 h 1218265"/>
              <a:gd name="connsiteX0" fmla="*/ 0 w 1620913"/>
              <a:gd name="connsiteY0" fmla="*/ 538161 h 1066799"/>
              <a:gd name="connsiteX1" fmla="*/ 0 w 1620913"/>
              <a:gd name="connsiteY1" fmla="*/ 1066799 h 1066799"/>
              <a:gd name="connsiteX2" fmla="*/ 1616869 w 1620913"/>
              <a:gd name="connsiteY2" fmla="*/ 409574 h 1066799"/>
              <a:gd name="connsiteX3" fmla="*/ 1323974 w 1620913"/>
              <a:gd name="connsiteY3" fmla="*/ 0 h 1066799"/>
              <a:gd name="connsiteX4" fmla="*/ 923925 w 1620913"/>
              <a:gd name="connsiteY4" fmla="*/ 426244 h 1066799"/>
              <a:gd name="connsiteX5" fmla="*/ 621506 w 1620913"/>
              <a:gd name="connsiteY5" fmla="*/ 771524 h 1066799"/>
              <a:gd name="connsiteX6" fmla="*/ 0 w 1620913"/>
              <a:gd name="connsiteY6" fmla="*/ 538161 h 1066799"/>
              <a:gd name="connsiteX0" fmla="*/ 0 w 1620913"/>
              <a:gd name="connsiteY0" fmla="*/ 538161 h 1213299"/>
              <a:gd name="connsiteX1" fmla="*/ 0 w 1620913"/>
              <a:gd name="connsiteY1" fmla="*/ 1066799 h 1213299"/>
              <a:gd name="connsiteX2" fmla="*/ 1616869 w 1620913"/>
              <a:gd name="connsiteY2" fmla="*/ 409574 h 1213299"/>
              <a:gd name="connsiteX3" fmla="*/ 1323974 w 1620913"/>
              <a:gd name="connsiteY3" fmla="*/ 0 h 1213299"/>
              <a:gd name="connsiteX4" fmla="*/ 923925 w 1620913"/>
              <a:gd name="connsiteY4" fmla="*/ 426244 h 1213299"/>
              <a:gd name="connsiteX5" fmla="*/ 621506 w 1620913"/>
              <a:gd name="connsiteY5" fmla="*/ 771524 h 1213299"/>
              <a:gd name="connsiteX6" fmla="*/ 0 w 1620913"/>
              <a:gd name="connsiteY6" fmla="*/ 538161 h 121329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28230"/>
              <a:gd name="connsiteY0" fmla="*/ 538161 h 1218919"/>
              <a:gd name="connsiteX1" fmla="*/ 0 w 1628230"/>
              <a:gd name="connsiteY1" fmla="*/ 1066799 h 1218919"/>
              <a:gd name="connsiteX2" fmla="*/ 1616869 w 1628230"/>
              <a:gd name="connsiteY2" fmla="*/ 409574 h 1218919"/>
              <a:gd name="connsiteX3" fmla="*/ 1323974 w 1628230"/>
              <a:gd name="connsiteY3" fmla="*/ 0 h 1218919"/>
              <a:gd name="connsiteX4" fmla="*/ 923925 w 1628230"/>
              <a:gd name="connsiteY4" fmla="*/ 426244 h 1218919"/>
              <a:gd name="connsiteX5" fmla="*/ 621506 w 1628230"/>
              <a:gd name="connsiteY5" fmla="*/ 771524 h 1218919"/>
              <a:gd name="connsiteX6" fmla="*/ 0 w 1628230"/>
              <a:gd name="connsiteY6" fmla="*/ 538161 h 1218919"/>
              <a:gd name="connsiteX0" fmla="*/ 0 w 1632881"/>
              <a:gd name="connsiteY0" fmla="*/ 538161 h 1232035"/>
              <a:gd name="connsiteX1" fmla="*/ 0 w 1632881"/>
              <a:gd name="connsiteY1" fmla="*/ 1066799 h 1232035"/>
              <a:gd name="connsiteX2" fmla="*/ 1621631 w 1632881"/>
              <a:gd name="connsiteY2" fmla="*/ 523874 h 1232035"/>
              <a:gd name="connsiteX3" fmla="*/ 1323974 w 1632881"/>
              <a:gd name="connsiteY3" fmla="*/ 0 h 1232035"/>
              <a:gd name="connsiteX4" fmla="*/ 923925 w 1632881"/>
              <a:gd name="connsiteY4" fmla="*/ 426244 h 1232035"/>
              <a:gd name="connsiteX5" fmla="*/ 621506 w 1632881"/>
              <a:gd name="connsiteY5" fmla="*/ 771524 h 1232035"/>
              <a:gd name="connsiteX6" fmla="*/ 0 w 1632881"/>
              <a:gd name="connsiteY6" fmla="*/ 538161 h 1232035"/>
              <a:gd name="connsiteX0" fmla="*/ 0 w 1622936"/>
              <a:gd name="connsiteY0" fmla="*/ 538161 h 1236750"/>
              <a:gd name="connsiteX1" fmla="*/ 0 w 1622936"/>
              <a:gd name="connsiteY1" fmla="*/ 1066799 h 1236750"/>
              <a:gd name="connsiteX2" fmla="*/ 1621631 w 1622936"/>
              <a:gd name="connsiteY2" fmla="*/ 523874 h 1236750"/>
              <a:gd name="connsiteX3" fmla="*/ 1323974 w 1622936"/>
              <a:gd name="connsiteY3" fmla="*/ 0 h 1236750"/>
              <a:gd name="connsiteX4" fmla="*/ 923925 w 1622936"/>
              <a:gd name="connsiteY4" fmla="*/ 426244 h 1236750"/>
              <a:gd name="connsiteX5" fmla="*/ 621506 w 1622936"/>
              <a:gd name="connsiteY5" fmla="*/ 771524 h 1236750"/>
              <a:gd name="connsiteX6" fmla="*/ 0 w 1622936"/>
              <a:gd name="connsiteY6" fmla="*/ 538161 h 1236750"/>
              <a:gd name="connsiteX0" fmla="*/ 0 w 1627932"/>
              <a:gd name="connsiteY0" fmla="*/ 538161 h 1227283"/>
              <a:gd name="connsiteX1" fmla="*/ 0 w 1627932"/>
              <a:gd name="connsiteY1" fmla="*/ 1066799 h 1227283"/>
              <a:gd name="connsiteX2" fmla="*/ 1621631 w 1627932"/>
              <a:gd name="connsiteY2" fmla="*/ 523874 h 1227283"/>
              <a:gd name="connsiteX3" fmla="*/ 1323974 w 1627932"/>
              <a:gd name="connsiteY3" fmla="*/ 0 h 1227283"/>
              <a:gd name="connsiteX4" fmla="*/ 923925 w 1627932"/>
              <a:gd name="connsiteY4" fmla="*/ 426244 h 1227283"/>
              <a:gd name="connsiteX5" fmla="*/ 621506 w 1627932"/>
              <a:gd name="connsiteY5" fmla="*/ 771524 h 1227283"/>
              <a:gd name="connsiteX6" fmla="*/ 0 w 1627932"/>
              <a:gd name="connsiteY6" fmla="*/ 538161 h 1227283"/>
              <a:gd name="connsiteX0" fmla="*/ 0 w 1627932"/>
              <a:gd name="connsiteY0" fmla="*/ 538161 h 1066799"/>
              <a:gd name="connsiteX1" fmla="*/ 0 w 1627932"/>
              <a:gd name="connsiteY1" fmla="*/ 1066799 h 1066799"/>
              <a:gd name="connsiteX2" fmla="*/ 1621631 w 1627932"/>
              <a:gd name="connsiteY2" fmla="*/ 523874 h 1066799"/>
              <a:gd name="connsiteX3" fmla="*/ 1323974 w 1627932"/>
              <a:gd name="connsiteY3" fmla="*/ 0 h 1066799"/>
              <a:gd name="connsiteX4" fmla="*/ 923925 w 1627932"/>
              <a:gd name="connsiteY4" fmla="*/ 426244 h 1066799"/>
              <a:gd name="connsiteX5" fmla="*/ 621506 w 1627932"/>
              <a:gd name="connsiteY5" fmla="*/ 771524 h 1066799"/>
              <a:gd name="connsiteX6" fmla="*/ 0 w 1627932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066799"/>
              <a:gd name="connsiteX1" fmla="*/ 0 w 1627647"/>
              <a:gd name="connsiteY1" fmla="*/ 1066799 h 1066799"/>
              <a:gd name="connsiteX2" fmla="*/ 1621631 w 1627647"/>
              <a:gd name="connsiteY2" fmla="*/ 523874 h 1066799"/>
              <a:gd name="connsiteX3" fmla="*/ 1323974 w 1627647"/>
              <a:gd name="connsiteY3" fmla="*/ 0 h 1066799"/>
              <a:gd name="connsiteX4" fmla="*/ 923925 w 1627647"/>
              <a:gd name="connsiteY4" fmla="*/ 426244 h 1066799"/>
              <a:gd name="connsiteX5" fmla="*/ 621506 w 1627647"/>
              <a:gd name="connsiteY5" fmla="*/ 771524 h 1066799"/>
              <a:gd name="connsiteX6" fmla="*/ 0 w 1627647"/>
              <a:gd name="connsiteY6" fmla="*/ 538161 h 1066799"/>
              <a:gd name="connsiteX0" fmla="*/ 0 w 1627647"/>
              <a:gd name="connsiteY0" fmla="*/ 538161 h 1134969"/>
              <a:gd name="connsiteX1" fmla="*/ 0 w 1627647"/>
              <a:gd name="connsiteY1" fmla="*/ 1066799 h 1134969"/>
              <a:gd name="connsiteX2" fmla="*/ 1621631 w 1627647"/>
              <a:gd name="connsiteY2" fmla="*/ 523874 h 1134969"/>
              <a:gd name="connsiteX3" fmla="*/ 1323974 w 1627647"/>
              <a:gd name="connsiteY3" fmla="*/ 0 h 1134969"/>
              <a:gd name="connsiteX4" fmla="*/ 923925 w 1627647"/>
              <a:gd name="connsiteY4" fmla="*/ 426244 h 1134969"/>
              <a:gd name="connsiteX5" fmla="*/ 621506 w 1627647"/>
              <a:gd name="connsiteY5" fmla="*/ 771524 h 1134969"/>
              <a:gd name="connsiteX6" fmla="*/ 0 w 1627647"/>
              <a:gd name="connsiteY6" fmla="*/ 538161 h 1134969"/>
              <a:gd name="connsiteX0" fmla="*/ 0 w 1627647"/>
              <a:gd name="connsiteY0" fmla="*/ 538161 h 1213483"/>
              <a:gd name="connsiteX1" fmla="*/ 0 w 1627647"/>
              <a:gd name="connsiteY1" fmla="*/ 1066799 h 1213483"/>
              <a:gd name="connsiteX2" fmla="*/ 1621631 w 1627647"/>
              <a:gd name="connsiteY2" fmla="*/ 523874 h 1213483"/>
              <a:gd name="connsiteX3" fmla="*/ 1323974 w 1627647"/>
              <a:gd name="connsiteY3" fmla="*/ 0 h 1213483"/>
              <a:gd name="connsiteX4" fmla="*/ 923925 w 1627647"/>
              <a:gd name="connsiteY4" fmla="*/ 426244 h 1213483"/>
              <a:gd name="connsiteX5" fmla="*/ 621506 w 1627647"/>
              <a:gd name="connsiteY5" fmla="*/ 771524 h 1213483"/>
              <a:gd name="connsiteX6" fmla="*/ 0 w 1627647"/>
              <a:gd name="connsiteY6" fmla="*/ 538161 h 1213483"/>
              <a:gd name="connsiteX0" fmla="*/ 0 w 1627647"/>
              <a:gd name="connsiteY0" fmla="*/ 538161 h 1190326"/>
              <a:gd name="connsiteX1" fmla="*/ 0 w 1627647"/>
              <a:gd name="connsiteY1" fmla="*/ 1066799 h 1190326"/>
              <a:gd name="connsiteX2" fmla="*/ 1621631 w 1627647"/>
              <a:gd name="connsiteY2" fmla="*/ 523874 h 1190326"/>
              <a:gd name="connsiteX3" fmla="*/ 1323974 w 1627647"/>
              <a:gd name="connsiteY3" fmla="*/ 0 h 1190326"/>
              <a:gd name="connsiteX4" fmla="*/ 923925 w 1627647"/>
              <a:gd name="connsiteY4" fmla="*/ 426244 h 1190326"/>
              <a:gd name="connsiteX5" fmla="*/ 621506 w 1627647"/>
              <a:gd name="connsiteY5" fmla="*/ 771524 h 1190326"/>
              <a:gd name="connsiteX6" fmla="*/ 0 w 1627647"/>
              <a:gd name="connsiteY6" fmla="*/ 538161 h 1190326"/>
              <a:gd name="connsiteX0" fmla="*/ 0 w 1627647"/>
              <a:gd name="connsiteY0" fmla="*/ 538161 h 1219698"/>
              <a:gd name="connsiteX1" fmla="*/ 0 w 1627647"/>
              <a:gd name="connsiteY1" fmla="*/ 1066799 h 1219698"/>
              <a:gd name="connsiteX2" fmla="*/ 1621631 w 1627647"/>
              <a:gd name="connsiteY2" fmla="*/ 523874 h 1219698"/>
              <a:gd name="connsiteX3" fmla="*/ 1323974 w 1627647"/>
              <a:gd name="connsiteY3" fmla="*/ 0 h 1219698"/>
              <a:gd name="connsiteX4" fmla="*/ 923925 w 1627647"/>
              <a:gd name="connsiteY4" fmla="*/ 426244 h 1219698"/>
              <a:gd name="connsiteX5" fmla="*/ 621506 w 1627647"/>
              <a:gd name="connsiteY5" fmla="*/ 771524 h 1219698"/>
              <a:gd name="connsiteX6" fmla="*/ 0 w 1627647"/>
              <a:gd name="connsiteY6" fmla="*/ 538161 h 1219698"/>
              <a:gd name="connsiteX0" fmla="*/ 0 w 1627647"/>
              <a:gd name="connsiteY0" fmla="*/ 538161 h 1232307"/>
              <a:gd name="connsiteX1" fmla="*/ 0 w 1627647"/>
              <a:gd name="connsiteY1" fmla="*/ 1066799 h 1232307"/>
              <a:gd name="connsiteX2" fmla="*/ 1621631 w 1627647"/>
              <a:gd name="connsiteY2" fmla="*/ 523874 h 1232307"/>
              <a:gd name="connsiteX3" fmla="*/ 1323974 w 1627647"/>
              <a:gd name="connsiteY3" fmla="*/ 0 h 1232307"/>
              <a:gd name="connsiteX4" fmla="*/ 923925 w 1627647"/>
              <a:gd name="connsiteY4" fmla="*/ 426244 h 1232307"/>
              <a:gd name="connsiteX5" fmla="*/ 621506 w 1627647"/>
              <a:gd name="connsiteY5" fmla="*/ 771524 h 1232307"/>
              <a:gd name="connsiteX6" fmla="*/ 0 w 1627647"/>
              <a:gd name="connsiteY6" fmla="*/ 538161 h 1232307"/>
              <a:gd name="connsiteX0" fmla="*/ 0 w 1627647"/>
              <a:gd name="connsiteY0" fmla="*/ 538161 h 1217230"/>
              <a:gd name="connsiteX1" fmla="*/ 0 w 1627647"/>
              <a:gd name="connsiteY1" fmla="*/ 1066799 h 1217230"/>
              <a:gd name="connsiteX2" fmla="*/ 1621631 w 1627647"/>
              <a:gd name="connsiteY2" fmla="*/ 523874 h 1217230"/>
              <a:gd name="connsiteX3" fmla="*/ 1323974 w 1627647"/>
              <a:gd name="connsiteY3" fmla="*/ 0 h 1217230"/>
              <a:gd name="connsiteX4" fmla="*/ 923925 w 1627647"/>
              <a:gd name="connsiteY4" fmla="*/ 426244 h 1217230"/>
              <a:gd name="connsiteX5" fmla="*/ 621506 w 1627647"/>
              <a:gd name="connsiteY5" fmla="*/ 771524 h 1217230"/>
              <a:gd name="connsiteX6" fmla="*/ 0 w 1627647"/>
              <a:gd name="connsiteY6" fmla="*/ 538161 h 1217230"/>
              <a:gd name="connsiteX0" fmla="*/ 0 w 1627647"/>
              <a:gd name="connsiteY0" fmla="*/ 538161 h 1188997"/>
              <a:gd name="connsiteX1" fmla="*/ 0 w 1627647"/>
              <a:gd name="connsiteY1" fmla="*/ 1066799 h 1188997"/>
              <a:gd name="connsiteX2" fmla="*/ 1621631 w 1627647"/>
              <a:gd name="connsiteY2" fmla="*/ 523874 h 1188997"/>
              <a:gd name="connsiteX3" fmla="*/ 1323974 w 1627647"/>
              <a:gd name="connsiteY3" fmla="*/ 0 h 1188997"/>
              <a:gd name="connsiteX4" fmla="*/ 923925 w 1627647"/>
              <a:gd name="connsiteY4" fmla="*/ 426244 h 1188997"/>
              <a:gd name="connsiteX5" fmla="*/ 621506 w 1627647"/>
              <a:gd name="connsiteY5" fmla="*/ 771524 h 1188997"/>
              <a:gd name="connsiteX6" fmla="*/ 0 w 1627647"/>
              <a:gd name="connsiteY6" fmla="*/ 538161 h 1188997"/>
              <a:gd name="connsiteX0" fmla="*/ 0 w 1627647"/>
              <a:gd name="connsiteY0" fmla="*/ 538161 h 1216261"/>
              <a:gd name="connsiteX1" fmla="*/ 0 w 1627647"/>
              <a:gd name="connsiteY1" fmla="*/ 1066799 h 1216261"/>
              <a:gd name="connsiteX2" fmla="*/ 1621631 w 1627647"/>
              <a:gd name="connsiteY2" fmla="*/ 523874 h 1216261"/>
              <a:gd name="connsiteX3" fmla="*/ 1323974 w 1627647"/>
              <a:gd name="connsiteY3" fmla="*/ 0 h 1216261"/>
              <a:gd name="connsiteX4" fmla="*/ 923925 w 1627647"/>
              <a:gd name="connsiteY4" fmla="*/ 426244 h 1216261"/>
              <a:gd name="connsiteX5" fmla="*/ 621506 w 1627647"/>
              <a:gd name="connsiteY5" fmla="*/ 771524 h 1216261"/>
              <a:gd name="connsiteX6" fmla="*/ 0 w 1627647"/>
              <a:gd name="connsiteY6" fmla="*/ 538161 h 1216261"/>
              <a:gd name="connsiteX0" fmla="*/ 0 w 1627647"/>
              <a:gd name="connsiteY0" fmla="*/ 538161 h 1206398"/>
              <a:gd name="connsiteX1" fmla="*/ 0 w 1627647"/>
              <a:gd name="connsiteY1" fmla="*/ 1066799 h 1206398"/>
              <a:gd name="connsiteX2" fmla="*/ 1621631 w 1627647"/>
              <a:gd name="connsiteY2" fmla="*/ 523874 h 1206398"/>
              <a:gd name="connsiteX3" fmla="*/ 1323974 w 1627647"/>
              <a:gd name="connsiteY3" fmla="*/ 0 h 1206398"/>
              <a:gd name="connsiteX4" fmla="*/ 923925 w 1627647"/>
              <a:gd name="connsiteY4" fmla="*/ 426244 h 1206398"/>
              <a:gd name="connsiteX5" fmla="*/ 621506 w 1627647"/>
              <a:gd name="connsiteY5" fmla="*/ 771524 h 1206398"/>
              <a:gd name="connsiteX6" fmla="*/ 0 w 1627647"/>
              <a:gd name="connsiteY6" fmla="*/ 538161 h 1206398"/>
              <a:gd name="connsiteX0" fmla="*/ 0 w 1627647"/>
              <a:gd name="connsiteY0" fmla="*/ 538161 h 1218880"/>
              <a:gd name="connsiteX1" fmla="*/ 0 w 1627647"/>
              <a:gd name="connsiteY1" fmla="*/ 1066799 h 1218880"/>
              <a:gd name="connsiteX2" fmla="*/ 1621631 w 1627647"/>
              <a:gd name="connsiteY2" fmla="*/ 523874 h 1218880"/>
              <a:gd name="connsiteX3" fmla="*/ 1323974 w 1627647"/>
              <a:gd name="connsiteY3" fmla="*/ 0 h 1218880"/>
              <a:gd name="connsiteX4" fmla="*/ 923925 w 1627647"/>
              <a:gd name="connsiteY4" fmla="*/ 426244 h 1218880"/>
              <a:gd name="connsiteX5" fmla="*/ 621506 w 1627647"/>
              <a:gd name="connsiteY5" fmla="*/ 771524 h 1218880"/>
              <a:gd name="connsiteX6" fmla="*/ 0 w 1627647"/>
              <a:gd name="connsiteY6" fmla="*/ 538161 h 1218880"/>
              <a:gd name="connsiteX0" fmla="*/ 0 w 1627647"/>
              <a:gd name="connsiteY0" fmla="*/ 538161 h 1211596"/>
              <a:gd name="connsiteX1" fmla="*/ 0 w 1627647"/>
              <a:gd name="connsiteY1" fmla="*/ 1066799 h 1211596"/>
              <a:gd name="connsiteX2" fmla="*/ 1621631 w 1627647"/>
              <a:gd name="connsiteY2" fmla="*/ 523874 h 1211596"/>
              <a:gd name="connsiteX3" fmla="*/ 1323974 w 1627647"/>
              <a:gd name="connsiteY3" fmla="*/ 0 h 1211596"/>
              <a:gd name="connsiteX4" fmla="*/ 923925 w 1627647"/>
              <a:gd name="connsiteY4" fmla="*/ 426244 h 1211596"/>
              <a:gd name="connsiteX5" fmla="*/ 621506 w 1627647"/>
              <a:gd name="connsiteY5" fmla="*/ 771524 h 1211596"/>
              <a:gd name="connsiteX6" fmla="*/ 0 w 1627647"/>
              <a:gd name="connsiteY6" fmla="*/ 538161 h 1211596"/>
              <a:gd name="connsiteX0" fmla="*/ 0 w 1627647"/>
              <a:gd name="connsiteY0" fmla="*/ 538161 h 1217962"/>
              <a:gd name="connsiteX1" fmla="*/ 0 w 1627647"/>
              <a:gd name="connsiteY1" fmla="*/ 1066799 h 1217962"/>
              <a:gd name="connsiteX2" fmla="*/ 1621631 w 1627647"/>
              <a:gd name="connsiteY2" fmla="*/ 523874 h 1217962"/>
              <a:gd name="connsiteX3" fmla="*/ 1323974 w 1627647"/>
              <a:gd name="connsiteY3" fmla="*/ 0 h 1217962"/>
              <a:gd name="connsiteX4" fmla="*/ 923925 w 1627647"/>
              <a:gd name="connsiteY4" fmla="*/ 426244 h 1217962"/>
              <a:gd name="connsiteX5" fmla="*/ 621506 w 1627647"/>
              <a:gd name="connsiteY5" fmla="*/ 771524 h 1217962"/>
              <a:gd name="connsiteX6" fmla="*/ 0 w 1627647"/>
              <a:gd name="connsiteY6" fmla="*/ 538161 h 1217962"/>
              <a:gd name="connsiteX0" fmla="*/ 0 w 1627647"/>
              <a:gd name="connsiteY0" fmla="*/ 538161 h 1218399"/>
              <a:gd name="connsiteX1" fmla="*/ 0 w 1627647"/>
              <a:gd name="connsiteY1" fmla="*/ 1066799 h 1218399"/>
              <a:gd name="connsiteX2" fmla="*/ 1621631 w 1627647"/>
              <a:gd name="connsiteY2" fmla="*/ 523874 h 1218399"/>
              <a:gd name="connsiteX3" fmla="*/ 1323974 w 1627647"/>
              <a:gd name="connsiteY3" fmla="*/ 0 h 1218399"/>
              <a:gd name="connsiteX4" fmla="*/ 923925 w 1627647"/>
              <a:gd name="connsiteY4" fmla="*/ 426244 h 1218399"/>
              <a:gd name="connsiteX5" fmla="*/ 621506 w 1627647"/>
              <a:gd name="connsiteY5" fmla="*/ 771524 h 1218399"/>
              <a:gd name="connsiteX6" fmla="*/ 0 w 1627647"/>
              <a:gd name="connsiteY6" fmla="*/ 538161 h 121839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23925 w 1627647"/>
              <a:gd name="connsiteY4" fmla="*/ 426244 h 1212839"/>
              <a:gd name="connsiteX5" fmla="*/ 621506 w 1627647"/>
              <a:gd name="connsiteY5" fmla="*/ 771524 h 1212839"/>
              <a:gd name="connsiteX6" fmla="*/ 0 w 1627647"/>
              <a:gd name="connsiteY6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1078707 w 1627647"/>
              <a:gd name="connsiteY4" fmla="*/ 257177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595313 w 1627647"/>
              <a:gd name="connsiteY4" fmla="*/ 185739 h 1212839"/>
              <a:gd name="connsiteX5" fmla="*/ 923925 w 1627647"/>
              <a:gd name="connsiteY5" fmla="*/ 426244 h 1212839"/>
              <a:gd name="connsiteX6" fmla="*/ 621506 w 1627647"/>
              <a:gd name="connsiteY6" fmla="*/ 771524 h 1212839"/>
              <a:gd name="connsiteX7" fmla="*/ 0 w 1627647"/>
              <a:gd name="connsiteY7" fmla="*/ 538161 h 1212839"/>
              <a:gd name="connsiteX0" fmla="*/ 0 w 1627647"/>
              <a:gd name="connsiteY0" fmla="*/ 538161 h 1212839"/>
              <a:gd name="connsiteX1" fmla="*/ 0 w 1627647"/>
              <a:gd name="connsiteY1" fmla="*/ 1066799 h 1212839"/>
              <a:gd name="connsiteX2" fmla="*/ 1621631 w 1627647"/>
              <a:gd name="connsiteY2" fmla="*/ 523874 h 1212839"/>
              <a:gd name="connsiteX3" fmla="*/ 1323974 w 1627647"/>
              <a:gd name="connsiteY3" fmla="*/ 0 h 1212839"/>
              <a:gd name="connsiteX4" fmla="*/ 973932 w 1627647"/>
              <a:gd name="connsiteY4" fmla="*/ 85727 h 1212839"/>
              <a:gd name="connsiteX5" fmla="*/ 595313 w 1627647"/>
              <a:gd name="connsiteY5" fmla="*/ 185739 h 1212839"/>
              <a:gd name="connsiteX6" fmla="*/ 923925 w 1627647"/>
              <a:gd name="connsiteY6" fmla="*/ 426244 h 1212839"/>
              <a:gd name="connsiteX7" fmla="*/ 621506 w 1627647"/>
              <a:gd name="connsiteY7" fmla="*/ 771524 h 1212839"/>
              <a:gd name="connsiteX8" fmla="*/ 0 w 1627647"/>
              <a:gd name="connsiteY8" fmla="*/ 538161 h 1212839"/>
              <a:gd name="connsiteX0" fmla="*/ 0 w 1627647"/>
              <a:gd name="connsiteY0" fmla="*/ 745328 h 1420006"/>
              <a:gd name="connsiteX1" fmla="*/ 0 w 1627647"/>
              <a:gd name="connsiteY1" fmla="*/ 1273966 h 1420006"/>
              <a:gd name="connsiteX2" fmla="*/ 1621631 w 1627647"/>
              <a:gd name="connsiteY2" fmla="*/ 731041 h 1420006"/>
              <a:gd name="connsiteX3" fmla="*/ 1323974 w 1627647"/>
              <a:gd name="connsiteY3" fmla="*/ 207167 h 1420006"/>
              <a:gd name="connsiteX4" fmla="*/ 835820 w 1627647"/>
              <a:gd name="connsiteY4" fmla="*/ 0 h 1420006"/>
              <a:gd name="connsiteX5" fmla="*/ 595313 w 1627647"/>
              <a:gd name="connsiteY5" fmla="*/ 392906 h 1420006"/>
              <a:gd name="connsiteX6" fmla="*/ 923925 w 1627647"/>
              <a:gd name="connsiteY6" fmla="*/ 633411 h 1420006"/>
              <a:gd name="connsiteX7" fmla="*/ 621506 w 1627647"/>
              <a:gd name="connsiteY7" fmla="*/ 978691 h 1420006"/>
              <a:gd name="connsiteX8" fmla="*/ 0 w 1627647"/>
              <a:gd name="connsiteY8" fmla="*/ 745328 h 1420006"/>
              <a:gd name="connsiteX0" fmla="*/ 0 w 1591281"/>
              <a:gd name="connsiteY0" fmla="*/ 745328 h 1469663"/>
              <a:gd name="connsiteX1" fmla="*/ 0 w 1591281"/>
              <a:gd name="connsiteY1" fmla="*/ 1273966 h 1469663"/>
              <a:gd name="connsiteX2" fmla="*/ 1574006 w 1591281"/>
              <a:gd name="connsiteY2" fmla="*/ 928685 h 1469663"/>
              <a:gd name="connsiteX3" fmla="*/ 1323974 w 1591281"/>
              <a:gd name="connsiteY3" fmla="*/ 207167 h 1469663"/>
              <a:gd name="connsiteX4" fmla="*/ 835820 w 1591281"/>
              <a:gd name="connsiteY4" fmla="*/ 0 h 1469663"/>
              <a:gd name="connsiteX5" fmla="*/ 595313 w 1591281"/>
              <a:gd name="connsiteY5" fmla="*/ 392906 h 1469663"/>
              <a:gd name="connsiteX6" fmla="*/ 923925 w 1591281"/>
              <a:gd name="connsiteY6" fmla="*/ 633411 h 1469663"/>
              <a:gd name="connsiteX7" fmla="*/ 621506 w 1591281"/>
              <a:gd name="connsiteY7" fmla="*/ 978691 h 1469663"/>
              <a:gd name="connsiteX8" fmla="*/ 0 w 1591281"/>
              <a:gd name="connsiteY8" fmla="*/ 745328 h 1469663"/>
              <a:gd name="connsiteX0" fmla="*/ 0 w 1591281"/>
              <a:gd name="connsiteY0" fmla="*/ 745328 h 1425021"/>
              <a:gd name="connsiteX1" fmla="*/ 0 w 1591281"/>
              <a:gd name="connsiteY1" fmla="*/ 1273966 h 1425021"/>
              <a:gd name="connsiteX2" fmla="*/ 1574006 w 1591281"/>
              <a:gd name="connsiteY2" fmla="*/ 928685 h 1425021"/>
              <a:gd name="connsiteX3" fmla="*/ 1323974 w 1591281"/>
              <a:gd name="connsiteY3" fmla="*/ 207167 h 1425021"/>
              <a:gd name="connsiteX4" fmla="*/ 835820 w 1591281"/>
              <a:gd name="connsiteY4" fmla="*/ 0 h 1425021"/>
              <a:gd name="connsiteX5" fmla="*/ 595313 w 1591281"/>
              <a:gd name="connsiteY5" fmla="*/ 392906 h 1425021"/>
              <a:gd name="connsiteX6" fmla="*/ 923925 w 1591281"/>
              <a:gd name="connsiteY6" fmla="*/ 633411 h 1425021"/>
              <a:gd name="connsiteX7" fmla="*/ 621506 w 1591281"/>
              <a:gd name="connsiteY7" fmla="*/ 978691 h 1425021"/>
              <a:gd name="connsiteX8" fmla="*/ 0 w 1591281"/>
              <a:gd name="connsiteY8" fmla="*/ 745328 h 1425021"/>
              <a:gd name="connsiteX0" fmla="*/ 0 w 1622856"/>
              <a:gd name="connsiteY0" fmla="*/ 745328 h 1425021"/>
              <a:gd name="connsiteX1" fmla="*/ 0 w 1622856"/>
              <a:gd name="connsiteY1" fmla="*/ 1273966 h 1425021"/>
              <a:gd name="connsiteX2" fmla="*/ 1574006 w 1622856"/>
              <a:gd name="connsiteY2" fmla="*/ 928685 h 1425021"/>
              <a:gd name="connsiteX3" fmla="*/ 1323974 w 1622856"/>
              <a:gd name="connsiteY3" fmla="*/ 207167 h 1425021"/>
              <a:gd name="connsiteX4" fmla="*/ 835820 w 1622856"/>
              <a:gd name="connsiteY4" fmla="*/ 0 h 1425021"/>
              <a:gd name="connsiteX5" fmla="*/ 595313 w 1622856"/>
              <a:gd name="connsiteY5" fmla="*/ 392906 h 1425021"/>
              <a:gd name="connsiteX6" fmla="*/ 923925 w 1622856"/>
              <a:gd name="connsiteY6" fmla="*/ 633411 h 1425021"/>
              <a:gd name="connsiteX7" fmla="*/ 621506 w 1622856"/>
              <a:gd name="connsiteY7" fmla="*/ 978691 h 1425021"/>
              <a:gd name="connsiteX8" fmla="*/ 0 w 1622856"/>
              <a:gd name="connsiteY8" fmla="*/ 745328 h 1425021"/>
              <a:gd name="connsiteX0" fmla="*/ 0 w 1608710"/>
              <a:gd name="connsiteY0" fmla="*/ 745328 h 1425021"/>
              <a:gd name="connsiteX1" fmla="*/ 0 w 1608710"/>
              <a:gd name="connsiteY1" fmla="*/ 1273966 h 1425021"/>
              <a:gd name="connsiteX2" fmla="*/ 1574006 w 1608710"/>
              <a:gd name="connsiteY2" fmla="*/ 928685 h 1425021"/>
              <a:gd name="connsiteX3" fmla="*/ 1264443 w 1608710"/>
              <a:gd name="connsiteY3" fmla="*/ 166686 h 1425021"/>
              <a:gd name="connsiteX4" fmla="*/ 835820 w 1608710"/>
              <a:gd name="connsiteY4" fmla="*/ 0 h 1425021"/>
              <a:gd name="connsiteX5" fmla="*/ 595313 w 1608710"/>
              <a:gd name="connsiteY5" fmla="*/ 392906 h 1425021"/>
              <a:gd name="connsiteX6" fmla="*/ 923925 w 1608710"/>
              <a:gd name="connsiteY6" fmla="*/ 633411 h 1425021"/>
              <a:gd name="connsiteX7" fmla="*/ 621506 w 1608710"/>
              <a:gd name="connsiteY7" fmla="*/ 978691 h 1425021"/>
              <a:gd name="connsiteX8" fmla="*/ 0 w 1608710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595313 w 1623138"/>
              <a:gd name="connsiteY5" fmla="*/ 392906 h 1425021"/>
              <a:gd name="connsiteX6" fmla="*/ 923925 w 1623138"/>
              <a:gd name="connsiteY6" fmla="*/ 633411 h 1425021"/>
              <a:gd name="connsiteX7" fmla="*/ 621506 w 1623138"/>
              <a:gd name="connsiteY7" fmla="*/ 978691 h 1425021"/>
              <a:gd name="connsiteX8" fmla="*/ 0 w 1623138"/>
              <a:gd name="connsiteY8" fmla="*/ 745328 h 1425021"/>
              <a:gd name="connsiteX0" fmla="*/ 0 w 1623138"/>
              <a:gd name="connsiteY0" fmla="*/ 745328 h 1425021"/>
              <a:gd name="connsiteX1" fmla="*/ 0 w 1623138"/>
              <a:gd name="connsiteY1" fmla="*/ 1273966 h 1425021"/>
              <a:gd name="connsiteX2" fmla="*/ 1574006 w 1623138"/>
              <a:gd name="connsiteY2" fmla="*/ 928685 h 1425021"/>
              <a:gd name="connsiteX3" fmla="*/ 1264443 w 1623138"/>
              <a:gd name="connsiteY3" fmla="*/ 166686 h 1425021"/>
              <a:gd name="connsiteX4" fmla="*/ 835820 w 1623138"/>
              <a:gd name="connsiteY4" fmla="*/ 0 h 1425021"/>
              <a:gd name="connsiteX5" fmla="*/ 709613 w 1623138"/>
              <a:gd name="connsiteY5" fmla="*/ 207169 h 1425021"/>
              <a:gd name="connsiteX6" fmla="*/ 595313 w 1623138"/>
              <a:gd name="connsiteY6" fmla="*/ 392906 h 1425021"/>
              <a:gd name="connsiteX7" fmla="*/ 923925 w 1623138"/>
              <a:gd name="connsiteY7" fmla="*/ 633411 h 1425021"/>
              <a:gd name="connsiteX8" fmla="*/ 621506 w 1623138"/>
              <a:gd name="connsiteY8" fmla="*/ 978691 h 1425021"/>
              <a:gd name="connsiteX9" fmla="*/ 0 w 1623138"/>
              <a:gd name="connsiteY9" fmla="*/ 745328 h 1425021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421482 w 1623138"/>
              <a:gd name="connsiteY5" fmla="*/ 0 h 1477409"/>
              <a:gd name="connsiteX6" fmla="*/ 595313 w 1623138"/>
              <a:gd name="connsiteY6" fmla="*/ 445294 h 1477409"/>
              <a:gd name="connsiteX7" fmla="*/ 923925 w 1623138"/>
              <a:gd name="connsiteY7" fmla="*/ 685799 h 1477409"/>
              <a:gd name="connsiteX8" fmla="*/ 621506 w 1623138"/>
              <a:gd name="connsiteY8" fmla="*/ 1031079 h 1477409"/>
              <a:gd name="connsiteX9" fmla="*/ 0 w 1623138"/>
              <a:gd name="connsiteY9" fmla="*/ 797716 h 1477409"/>
              <a:gd name="connsiteX0" fmla="*/ 0 w 1623138"/>
              <a:gd name="connsiteY0" fmla="*/ 797716 h 1477409"/>
              <a:gd name="connsiteX1" fmla="*/ 0 w 1623138"/>
              <a:gd name="connsiteY1" fmla="*/ 1326354 h 1477409"/>
              <a:gd name="connsiteX2" fmla="*/ 1574006 w 1623138"/>
              <a:gd name="connsiteY2" fmla="*/ 981073 h 1477409"/>
              <a:gd name="connsiteX3" fmla="*/ 1264443 w 1623138"/>
              <a:gd name="connsiteY3" fmla="*/ 219074 h 1477409"/>
              <a:gd name="connsiteX4" fmla="*/ 835820 w 1623138"/>
              <a:gd name="connsiteY4" fmla="*/ 52388 h 1477409"/>
              <a:gd name="connsiteX5" fmla="*/ 654844 w 1623138"/>
              <a:gd name="connsiteY5" fmla="*/ 26194 h 1477409"/>
              <a:gd name="connsiteX6" fmla="*/ 421482 w 1623138"/>
              <a:gd name="connsiteY6" fmla="*/ 0 h 1477409"/>
              <a:gd name="connsiteX7" fmla="*/ 595313 w 1623138"/>
              <a:gd name="connsiteY7" fmla="*/ 445294 h 1477409"/>
              <a:gd name="connsiteX8" fmla="*/ 923925 w 1623138"/>
              <a:gd name="connsiteY8" fmla="*/ 685799 h 1477409"/>
              <a:gd name="connsiteX9" fmla="*/ 621506 w 1623138"/>
              <a:gd name="connsiteY9" fmla="*/ 1031079 h 1477409"/>
              <a:gd name="connsiteX10" fmla="*/ 0 w 1623138"/>
              <a:gd name="connsiteY10" fmla="*/ 797716 h 1477409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798877"/>
              <a:gd name="connsiteX1" fmla="*/ 0 w 1623138"/>
              <a:gd name="connsiteY1" fmla="*/ 1647822 h 1798877"/>
              <a:gd name="connsiteX2" fmla="*/ 1574006 w 1623138"/>
              <a:gd name="connsiteY2" fmla="*/ 1302541 h 1798877"/>
              <a:gd name="connsiteX3" fmla="*/ 1264443 w 1623138"/>
              <a:gd name="connsiteY3" fmla="*/ 540542 h 1798877"/>
              <a:gd name="connsiteX4" fmla="*/ 835820 w 1623138"/>
              <a:gd name="connsiteY4" fmla="*/ 373856 h 1798877"/>
              <a:gd name="connsiteX5" fmla="*/ 807244 w 1623138"/>
              <a:gd name="connsiteY5" fmla="*/ 0 h 1798877"/>
              <a:gd name="connsiteX6" fmla="*/ 421482 w 1623138"/>
              <a:gd name="connsiteY6" fmla="*/ 321468 h 1798877"/>
              <a:gd name="connsiteX7" fmla="*/ 595313 w 1623138"/>
              <a:gd name="connsiteY7" fmla="*/ 766762 h 1798877"/>
              <a:gd name="connsiteX8" fmla="*/ 923925 w 1623138"/>
              <a:gd name="connsiteY8" fmla="*/ 1007267 h 1798877"/>
              <a:gd name="connsiteX9" fmla="*/ 621506 w 1623138"/>
              <a:gd name="connsiteY9" fmla="*/ 1352547 h 1798877"/>
              <a:gd name="connsiteX10" fmla="*/ 0 w 1623138"/>
              <a:gd name="connsiteY10" fmla="*/ 1119184 h 1798877"/>
              <a:gd name="connsiteX0" fmla="*/ 0 w 1623138"/>
              <a:gd name="connsiteY0" fmla="*/ 1119184 h 1652572"/>
              <a:gd name="connsiteX1" fmla="*/ 0 w 1623138"/>
              <a:gd name="connsiteY1" fmla="*/ 1647822 h 1652572"/>
              <a:gd name="connsiteX2" fmla="*/ 1574006 w 1623138"/>
              <a:gd name="connsiteY2" fmla="*/ 1302541 h 1652572"/>
              <a:gd name="connsiteX3" fmla="*/ 1264443 w 1623138"/>
              <a:gd name="connsiteY3" fmla="*/ 540542 h 1652572"/>
              <a:gd name="connsiteX4" fmla="*/ 835820 w 1623138"/>
              <a:gd name="connsiteY4" fmla="*/ 373856 h 1652572"/>
              <a:gd name="connsiteX5" fmla="*/ 807244 w 1623138"/>
              <a:gd name="connsiteY5" fmla="*/ 0 h 1652572"/>
              <a:gd name="connsiteX6" fmla="*/ 421482 w 1623138"/>
              <a:gd name="connsiteY6" fmla="*/ 321468 h 1652572"/>
              <a:gd name="connsiteX7" fmla="*/ 595313 w 1623138"/>
              <a:gd name="connsiteY7" fmla="*/ 766762 h 1652572"/>
              <a:gd name="connsiteX8" fmla="*/ 923925 w 1623138"/>
              <a:gd name="connsiteY8" fmla="*/ 1007267 h 1652572"/>
              <a:gd name="connsiteX9" fmla="*/ 621506 w 1623138"/>
              <a:gd name="connsiteY9" fmla="*/ 1352547 h 1652572"/>
              <a:gd name="connsiteX10" fmla="*/ 0 w 1623138"/>
              <a:gd name="connsiteY10" fmla="*/ 1119184 h 1652572"/>
              <a:gd name="connsiteX0" fmla="*/ 0 w 1627271"/>
              <a:gd name="connsiteY0" fmla="*/ 1119184 h 1712926"/>
              <a:gd name="connsiteX1" fmla="*/ 0 w 1627271"/>
              <a:gd name="connsiteY1" fmla="*/ 1647822 h 1712926"/>
              <a:gd name="connsiteX2" fmla="*/ 1574006 w 1627271"/>
              <a:gd name="connsiteY2" fmla="*/ 1302541 h 1712926"/>
              <a:gd name="connsiteX3" fmla="*/ 1264443 w 1627271"/>
              <a:gd name="connsiteY3" fmla="*/ 540542 h 1712926"/>
              <a:gd name="connsiteX4" fmla="*/ 835820 w 1627271"/>
              <a:gd name="connsiteY4" fmla="*/ 373856 h 1712926"/>
              <a:gd name="connsiteX5" fmla="*/ 807244 w 1627271"/>
              <a:gd name="connsiteY5" fmla="*/ 0 h 1712926"/>
              <a:gd name="connsiteX6" fmla="*/ 421482 w 1627271"/>
              <a:gd name="connsiteY6" fmla="*/ 321468 h 1712926"/>
              <a:gd name="connsiteX7" fmla="*/ 595313 w 1627271"/>
              <a:gd name="connsiteY7" fmla="*/ 766762 h 1712926"/>
              <a:gd name="connsiteX8" fmla="*/ 923925 w 1627271"/>
              <a:gd name="connsiteY8" fmla="*/ 1007267 h 1712926"/>
              <a:gd name="connsiteX9" fmla="*/ 621506 w 1627271"/>
              <a:gd name="connsiteY9" fmla="*/ 1352547 h 1712926"/>
              <a:gd name="connsiteX10" fmla="*/ 0 w 1627271"/>
              <a:gd name="connsiteY10" fmla="*/ 1119184 h 1712926"/>
              <a:gd name="connsiteX0" fmla="*/ 0 w 1627271"/>
              <a:gd name="connsiteY0" fmla="*/ 1119184 h 1797816"/>
              <a:gd name="connsiteX1" fmla="*/ 0 w 1627271"/>
              <a:gd name="connsiteY1" fmla="*/ 1647822 h 1797816"/>
              <a:gd name="connsiteX2" fmla="*/ 1574006 w 1627271"/>
              <a:gd name="connsiteY2" fmla="*/ 1302541 h 1797816"/>
              <a:gd name="connsiteX3" fmla="*/ 1264443 w 1627271"/>
              <a:gd name="connsiteY3" fmla="*/ 540542 h 1797816"/>
              <a:gd name="connsiteX4" fmla="*/ 835820 w 1627271"/>
              <a:gd name="connsiteY4" fmla="*/ 373856 h 1797816"/>
              <a:gd name="connsiteX5" fmla="*/ 807244 w 1627271"/>
              <a:gd name="connsiteY5" fmla="*/ 0 h 1797816"/>
              <a:gd name="connsiteX6" fmla="*/ 421482 w 1627271"/>
              <a:gd name="connsiteY6" fmla="*/ 321468 h 1797816"/>
              <a:gd name="connsiteX7" fmla="*/ 595313 w 1627271"/>
              <a:gd name="connsiteY7" fmla="*/ 766762 h 1797816"/>
              <a:gd name="connsiteX8" fmla="*/ 923925 w 1627271"/>
              <a:gd name="connsiteY8" fmla="*/ 1007267 h 1797816"/>
              <a:gd name="connsiteX9" fmla="*/ 621506 w 1627271"/>
              <a:gd name="connsiteY9" fmla="*/ 1352547 h 1797816"/>
              <a:gd name="connsiteX10" fmla="*/ 0 w 1627271"/>
              <a:gd name="connsiteY10" fmla="*/ 1119184 h 1797816"/>
              <a:gd name="connsiteX0" fmla="*/ 0 w 1622231"/>
              <a:gd name="connsiteY0" fmla="*/ 1119184 h 1773253"/>
              <a:gd name="connsiteX1" fmla="*/ 0 w 1622231"/>
              <a:gd name="connsiteY1" fmla="*/ 1647822 h 1773253"/>
              <a:gd name="connsiteX2" fmla="*/ 1574006 w 1622231"/>
              <a:gd name="connsiteY2" fmla="*/ 1302541 h 1773253"/>
              <a:gd name="connsiteX3" fmla="*/ 1264443 w 1622231"/>
              <a:gd name="connsiteY3" fmla="*/ 540542 h 1773253"/>
              <a:gd name="connsiteX4" fmla="*/ 835820 w 1622231"/>
              <a:gd name="connsiteY4" fmla="*/ 373856 h 1773253"/>
              <a:gd name="connsiteX5" fmla="*/ 807244 w 1622231"/>
              <a:gd name="connsiteY5" fmla="*/ 0 h 1773253"/>
              <a:gd name="connsiteX6" fmla="*/ 421482 w 1622231"/>
              <a:gd name="connsiteY6" fmla="*/ 321468 h 1773253"/>
              <a:gd name="connsiteX7" fmla="*/ 595313 w 1622231"/>
              <a:gd name="connsiteY7" fmla="*/ 766762 h 1773253"/>
              <a:gd name="connsiteX8" fmla="*/ 923925 w 1622231"/>
              <a:gd name="connsiteY8" fmla="*/ 1007267 h 1773253"/>
              <a:gd name="connsiteX9" fmla="*/ 621506 w 1622231"/>
              <a:gd name="connsiteY9" fmla="*/ 1352547 h 1773253"/>
              <a:gd name="connsiteX10" fmla="*/ 0 w 1622231"/>
              <a:gd name="connsiteY10" fmla="*/ 1119184 h 1773253"/>
              <a:gd name="connsiteX0" fmla="*/ 0 w 1622231"/>
              <a:gd name="connsiteY0" fmla="*/ 1119184 h 1800701"/>
              <a:gd name="connsiteX1" fmla="*/ 0 w 1622231"/>
              <a:gd name="connsiteY1" fmla="*/ 1647822 h 1800701"/>
              <a:gd name="connsiteX2" fmla="*/ 1574006 w 1622231"/>
              <a:gd name="connsiteY2" fmla="*/ 1302541 h 1800701"/>
              <a:gd name="connsiteX3" fmla="*/ 1264443 w 1622231"/>
              <a:gd name="connsiteY3" fmla="*/ 540542 h 1800701"/>
              <a:gd name="connsiteX4" fmla="*/ 835820 w 1622231"/>
              <a:gd name="connsiteY4" fmla="*/ 373856 h 1800701"/>
              <a:gd name="connsiteX5" fmla="*/ 807244 w 1622231"/>
              <a:gd name="connsiteY5" fmla="*/ 0 h 1800701"/>
              <a:gd name="connsiteX6" fmla="*/ 421482 w 1622231"/>
              <a:gd name="connsiteY6" fmla="*/ 321468 h 1800701"/>
              <a:gd name="connsiteX7" fmla="*/ 595313 w 1622231"/>
              <a:gd name="connsiteY7" fmla="*/ 766762 h 1800701"/>
              <a:gd name="connsiteX8" fmla="*/ 923925 w 1622231"/>
              <a:gd name="connsiteY8" fmla="*/ 1007267 h 1800701"/>
              <a:gd name="connsiteX9" fmla="*/ 621506 w 1622231"/>
              <a:gd name="connsiteY9" fmla="*/ 1352547 h 1800701"/>
              <a:gd name="connsiteX10" fmla="*/ 0 w 1622231"/>
              <a:gd name="connsiteY10" fmla="*/ 1119184 h 1800701"/>
              <a:gd name="connsiteX0" fmla="*/ 0 w 1552023"/>
              <a:gd name="connsiteY0" fmla="*/ 1119184 h 1859749"/>
              <a:gd name="connsiteX1" fmla="*/ 0 w 1552023"/>
              <a:gd name="connsiteY1" fmla="*/ 1647822 h 1859749"/>
              <a:gd name="connsiteX2" fmla="*/ 1462087 w 1552023"/>
              <a:gd name="connsiteY2" fmla="*/ 1469229 h 1859749"/>
              <a:gd name="connsiteX3" fmla="*/ 1264443 w 1552023"/>
              <a:gd name="connsiteY3" fmla="*/ 540542 h 1859749"/>
              <a:gd name="connsiteX4" fmla="*/ 835820 w 1552023"/>
              <a:gd name="connsiteY4" fmla="*/ 373856 h 1859749"/>
              <a:gd name="connsiteX5" fmla="*/ 807244 w 1552023"/>
              <a:gd name="connsiteY5" fmla="*/ 0 h 1859749"/>
              <a:gd name="connsiteX6" fmla="*/ 421482 w 1552023"/>
              <a:gd name="connsiteY6" fmla="*/ 321468 h 1859749"/>
              <a:gd name="connsiteX7" fmla="*/ 595313 w 1552023"/>
              <a:gd name="connsiteY7" fmla="*/ 766762 h 1859749"/>
              <a:gd name="connsiteX8" fmla="*/ 923925 w 1552023"/>
              <a:gd name="connsiteY8" fmla="*/ 1007267 h 1859749"/>
              <a:gd name="connsiteX9" fmla="*/ 621506 w 1552023"/>
              <a:gd name="connsiteY9" fmla="*/ 1352547 h 1859749"/>
              <a:gd name="connsiteX10" fmla="*/ 0 w 1552023"/>
              <a:gd name="connsiteY10" fmla="*/ 1119184 h 1859749"/>
              <a:gd name="connsiteX0" fmla="*/ 0 w 1571973"/>
              <a:gd name="connsiteY0" fmla="*/ 1119184 h 1800114"/>
              <a:gd name="connsiteX1" fmla="*/ 0 w 1571973"/>
              <a:gd name="connsiteY1" fmla="*/ 1647822 h 1800114"/>
              <a:gd name="connsiteX2" fmla="*/ 1462087 w 1571973"/>
              <a:gd name="connsiteY2" fmla="*/ 1469229 h 1800114"/>
              <a:gd name="connsiteX3" fmla="*/ 1264443 w 1571973"/>
              <a:gd name="connsiteY3" fmla="*/ 540542 h 1800114"/>
              <a:gd name="connsiteX4" fmla="*/ 835820 w 1571973"/>
              <a:gd name="connsiteY4" fmla="*/ 373856 h 1800114"/>
              <a:gd name="connsiteX5" fmla="*/ 807244 w 1571973"/>
              <a:gd name="connsiteY5" fmla="*/ 0 h 1800114"/>
              <a:gd name="connsiteX6" fmla="*/ 421482 w 1571973"/>
              <a:gd name="connsiteY6" fmla="*/ 321468 h 1800114"/>
              <a:gd name="connsiteX7" fmla="*/ 595313 w 1571973"/>
              <a:gd name="connsiteY7" fmla="*/ 766762 h 1800114"/>
              <a:gd name="connsiteX8" fmla="*/ 923925 w 1571973"/>
              <a:gd name="connsiteY8" fmla="*/ 1007267 h 1800114"/>
              <a:gd name="connsiteX9" fmla="*/ 621506 w 1571973"/>
              <a:gd name="connsiteY9" fmla="*/ 1352547 h 1800114"/>
              <a:gd name="connsiteX10" fmla="*/ 0 w 1571973"/>
              <a:gd name="connsiteY10" fmla="*/ 1119184 h 1800114"/>
              <a:gd name="connsiteX0" fmla="*/ 0 w 1620477"/>
              <a:gd name="connsiteY0" fmla="*/ 1119184 h 1800815"/>
              <a:gd name="connsiteX1" fmla="*/ 0 w 1620477"/>
              <a:gd name="connsiteY1" fmla="*/ 1647822 h 1800815"/>
              <a:gd name="connsiteX2" fmla="*/ 1462087 w 1620477"/>
              <a:gd name="connsiteY2" fmla="*/ 1469229 h 1800815"/>
              <a:gd name="connsiteX3" fmla="*/ 1264443 w 1620477"/>
              <a:gd name="connsiteY3" fmla="*/ 540542 h 1800815"/>
              <a:gd name="connsiteX4" fmla="*/ 835820 w 1620477"/>
              <a:gd name="connsiteY4" fmla="*/ 373856 h 1800815"/>
              <a:gd name="connsiteX5" fmla="*/ 807244 w 1620477"/>
              <a:gd name="connsiteY5" fmla="*/ 0 h 1800815"/>
              <a:gd name="connsiteX6" fmla="*/ 421482 w 1620477"/>
              <a:gd name="connsiteY6" fmla="*/ 321468 h 1800815"/>
              <a:gd name="connsiteX7" fmla="*/ 595313 w 1620477"/>
              <a:gd name="connsiteY7" fmla="*/ 766762 h 1800815"/>
              <a:gd name="connsiteX8" fmla="*/ 923925 w 1620477"/>
              <a:gd name="connsiteY8" fmla="*/ 1007267 h 1800815"/>
              <a:gd name="connsiteX9" fmla="*/ 621506 w 1620477"/>
              <a:gd name="connsiteY9" fmla="*/ 1352547 h 1800815"/>
              <a:gd name="connsiteX10" fmla="*/ 0 w 1620477"/>
              <a:gd name="connsiteY10" fmla="*/ 1119184 h 1800815"/>
              <a:gd name="connsiteX0" fmla="*/ 0 w 1629436"/>
              <a:gd name="connsiteY0" fmla="*/ 1119184 h 1799377"/>
              <a:gd name="connsiteX1" fmla="*/ 0 w 1629436"/>
              <a:gd name="connsiteY1" fmla="*/ 1647822 h 1799377"/>
              <a:gd name="connsiteX2" fmla="*/ 1476374 w 1629436"/>
              <a:gd name="connsiteY2" fmla="*/ 1464467 h 1799377"/>
              <a:gd name="connsiteX3" fmla="*/ 1264443 w 1629436"/>
              <a:gd name="connsiteY3" fmla="*/ 540542 h 1799377"/>
              <a:gd name="connsiteX4" fmla="*/ 835820 w 1629436"/>
              <a:gd name="connsiteY4" fmla="*/ 373856 h 1799377"/>
              <a:gd name="connsiteX5" fmla="*/ 807244 w 1629436"/>
              <a:gd name="connsiteY5" fmla="*/ 0 h 1799377"/>
              <a:gd name="connsiteX6" fmla="*/ 421482 w 1629436"/>
              <a:gd name="connsiteY6" fmla="*/ 321468 h 1799377"/>
              <a:gd name="connsiteX7" fmla="*/ 595313 w 1629436"/>
              <a:gd name="connsiteY7" fmla="*/ 766762 h 1799377"/>
              <a:gd name="connsiteX8" fmla="*/ 923925 w 1629436"/>
              <a:gd name="connsiteY8" fmla="*/ 1007267 h 1799377"/>
              <a:gd name="connsiteX9" fmla="*/ 621506 w 1629436"/>
              <a:gd name="connsiteY9" fmla="*/ 1352547 h 1799377"/>
              <a:gd name="connsiteX10" fmla="*/ 0 w 1629436"/>
              <a:gd name="connsiteY10" fmla="*/ 1119184 h 1799377"/>
              <a:gd name="connsiteX0" fmla="*/ 0 w 1606110"/>
              <a:gd name="connsiteY0" fmla="*/ 1119184 h 1796213"/>
              <a:gd name="connsiteX1" fmla="*/ 0 w 1606110"/>
              <a:gd name="connsiteY1" fmla="*/ 1647822 h 1796213"/>
              <a:gd name="connsiteX2" fmla="*/ 1476374 w 1606110"/>
              <a:gd name="connsiteY2" fmla="*/ 1464467 h 1796213"/>
              <a:gd name="connsiteX3" fmla="*/ 1264443 w 1606110"/>
              <a:gd name="connsiteY3" fmla="*/ 540542 h 1796213"/>
              <a:gd name="connsiteX4" fmla="*/ 835820 w 1606110"/>
              <a:gd name="connsiteY4" fmla="*/ 373856 h 1796213"/>
              <a:gd name="connsiteX5" fmla="*/ 807244 w 1606110"/>
              <a:gd name="connsiteY5" fmla="*/ 0 h 1796213"/>
              <a:gd name="connsiteX6" fmla="*/ 421482 w 1606110"/>
              <a:gd name="connsiteY6" fmla="*/ 321468 h 1796213"/>
              <a:gd name="connsiteX7" fmla="*/ 595313 w 1606110"/>
              <a:gd name="connsiteY7" fmla="*/ 766762 h 1796213"/>
              <a:gd name="connsiteX8" fmla="*/ 923925 w 1606110"/>
              <a:gd name="connsiteY8" fmla="*/ 1007267 h 1796213"/>
              <a:gd name="connsiteX9" fmla="*/ 621506 w 1606110"/>
              <a:gd name="connsiteY9" fmla="*/ 1352547 h 1796213"/>
              <a:gd name="connsiteX10" fmla="*/ 0 w 1606110"/>
              <a:gd name="connsiteY10" fmla="*/ 1119184 h 1796213"/>
              <a:gd name="connsiteX0" fmla="*/ 0 w 1625337"/>
              <a:gd name="connsiteY0" fmla="*/ 1119184 h 1796213"/>
              <a:gd name="connsiteX1" fmla="*/ 0 w 1625337"/>
              <a:gd name="connsiteY1" fmla="*/ 1647822 h 1796213"/>
              <a:gd name="connsiteX2" fmla="*/ 1476374 w 1625337"/>
              <a:gd name="connsiteY2" fmla="*/ 1464467 h 1796213"/>
              <a:gd name="connsiteX3" fmla="*/ 1264443 w 1625337"/>
              <a:gd name="connsiteY3" fmla="*/ 540542 h 1796213"/>
              <a:gd name="connsiteX4" fmla="*/ 835820 w 1625337"/>
              <a:gd name="connsiteY4" fmla="*/ 373856 h 1796213"/>
              <a:gd name="connsiteX5" fmla="*/ 807244 w 1625337"/>
              <a:gd name="connsiteY5" fmla="*/ 0 h 1796213"/>
              <a:gd name="connsiteX6" fmla="*/ 421482 w 1625337"/>
              <a:gd name="connsiteY6" fmla="*/ 321468 h 1796213"/>
              <a:gd name="connsiteX7" fmla="*/ 595313 w 1625337"/>
              <a:gd name="connsiteY7" fmla="*/ 766762 h 1796213"/>
              <a:gd name="connsiteX8" fmla="*/ 923925 w 1625337"/>
              <a:gd name="connsiteY8" fmla="*/ 1007267 h 1796213"/>
              <a:gd name="connsiteX9" fmla="*/ 621506 w 1625337"/>
              <a:gd name="connsiteY9" fmla="*/ 1352547 h 1796213"/>
              <a:gd name="connsiteX10" fmla="*/ 0 w 1625337"/>
              <a:gd name="connsiteY10" fmla="*/ 1119184 h 1796213"/>
              <a:gd name="connsiteX0" fmla="*/ 0 w 1625337"/>
              <a:gd name="connsiteY0" fmla="*/ 1119184 h 1803595"/>
              <a:gd name="connsiteX1" fmla="*/ 0 w 1625337"/>
              <a:gd name="connsiteY1" fmla="*/ 1647822 h 1803595"/>
              <a:gd name="connsiteX2" fmla="*/ 1476374 w 1625337"/>
              <a:gd name="connsiteY2" fmla="*/ 1464467 h 1803595"/>
              <a:gd name="connsiteX3" fmla="*/ 1264443 w 1625337"/>
              <a:gd name="connsiteY3" fmla="*/ 540542 h 1803595"/>
              <a:gd name="connsiteX4" fmla="*/ 835820 w 1625337"/>
              <a:gd name="connsiteY4" fmla="*/ 373856 h 1803595"/>
              <a:gd name="connsiteX5" fmla="*/ 807244 w 1625337"/>
              <a:gd name="connsiteY5" fmla="*/ 0 h 1803595"/>
              <a:gd name="connsiteX6" fmla="*/ 421482 w 1625337"/>
              <a:gd name="connsiteY6" fmla="*/ 321468 h 1803595"/>
              <a:gd name="connsiteX7" fmla="*/ 595313 w 1625337"/>
              <a:gd name="connsiteY7" fmla="*/ 766762 h 1803595"/>
              <a:gd name="connsiteX8" fmla="*/ 923925 w 1625337"/>
              <a:gd name="connsiteY8" fmla="*/ 1007267 h 1803595"/>
              <a:gd name="connsiteX9" fmla="*/ 621506 w 1625337"/>
              <a:gd name="connsiteY9" fmla="*/ 1352547 h 1803595"/>
              <a:gd name="connsiteX10" fmla="*/ 0 w 1625337"/>
              <a:gd name="connsiteY10" fmla="*/ 1119184 h 1803595"/>
              <a:gd name="connsiteX0" fmla="*/ 0 w 1625337"/>
              <a:gd name="connsiteY0" fmla="*/ 1119184 h 1799376"/>
              <a:gd name="connsiteX1" fmla="*/ 0 w 1625337"/>
              <a:gd name="connsiteY1" fmla="*/ 1647822 h 1799376"/>
              <a:gd name="connsiteX2" fmla="*/ 1476374 w 1625337"/>
              <a:gd name="connsiteY2" fmla="*/ 1464467 h 1799376"/>
              <a:gd name="connsiteX3" fmla="*/ 1264443 w 1625337"/>
              <a:gd name="connsiteY3" fmla="*/ 540542 h 1799376"/>
              <a:gd name="connsiteX4" fmla="*/ 835820 w 1625337"/>
              <a:gd name="connsiteY4" fmla="*/ 373856 h 1799376"/>
              <a:gd name="connsiteX5" fmla="*/ 807244 w 1625337"/>
              <a:gd name="connsiteY5" fmla="*/ 0 h 1799376"/>
              <a:gd name="connsiteX6" fmla="*/ 421482 w 1625337"/>
              <a:gd name="connsiteY6" fmla="*/ 321468 h 1799376"/>
              <a:gd name="connsiteX7" fmla="*/ 595313 w 1625337"/>
              <a:gd name="connsiteY7" fmla="*/ 766762 h 1799376"/>
              <a:gd name="connsiteX8" fmla="*/ 923925 w 1625337"/>
              <a:gd name="connsiteY8" fmla="*/ 1007267 h 1799376"/>
              <a:gd name="connsiteX9" fmla="*/ 621506 w 1625337"/>
              <a:gd name="connsiteY9" fmla="*/ 1352547 h 1799376"/>
              <a:gd name="connsiteX10" fmla="*/ 0 w 1625337"/>
              <a:gd name="connsiteY10" fmla="*/ 1119184 h 1799376"/>
              <a:gd name="connsiteX0" fmla="*/ 0 w 1635914"/>
              <a:gd name="connsiteY0" fmla="*/ 1119184 h 1799376"/>
              <a:gd name="connsiteX1" fmla="*/ 0 w 1635914"/>
              <a:gd name="connsiteY1" fmla="*/ 1647822 h 1799376"/>
              <a:gd name="connsiteX2" fmla="*/ 1476374 w 1635914"/>
              <a:gd name="connsiteY2" fmla="*/ 1464467 h 1799376"/>
              <a:gd name="connsiteX3" fmla="*/ 1264443 w 1635914"/>
              <a:gd name="connsiteY3" fmla="*/ 540542 h 1799376"/>
              <a:gd name="connsiteX4" fmla="*/ 835820 w 1635914"/>
              <a:gd name="connsiteY4" fmla="*/ 373856 h 1799376"/>
              <a:gd name="connsiteX5" fmla="*/ 807244 w 1635914"/>
              <a:gd name="connsiteY5" fmla="*/ 0 h 1799376"/>
              <a:gd name="connsiteX6" fmla="*/ 421482 w 1635914"/>
              <a:gd name="connsiteY6" fmla="*/ 321468 h 1799376"/>
              <a:gd name="connsiteX7" fmla="*/ 595313 w 1635914"/>
              <a:gd name="connsiteY7" fmla="*/ 766762 h 1799376"/>
              <a:gd name="connsiteX8" fmla="*/ 923925 w 1635914"/>
              <a:gd name="connsiteY8" fmla="*/ 1007267 h 1799376"/>
              <a:gd name="connsiteX9" fmla="*/ 621506 w 1635914"/>
              <a:gd name="connsiteY9" fmla="*/ 1352547 h 1799376"/>
              <a:gd name="connsiteX10" fmla="*/ 0 w 1635914"/>
              <a:gd name="connsiteY10" fmla="*/ 1119184 h 1799376"/>
              <a:gd name="connsiteX0" fmla="*/ 0 w 1720482"/>
              <a:gd name="connsiteY0" fmla="*/ 1119184 h 1772537"/>
              <a:gd name="connsiteX1" fmla="*/ 0 w 1720482"/>
              <a:gd name="connsiteY1" fmla="*/ 1647822 h 1772537"/>
              <a:gd name="connsiteX2" fmla="*/ 1476374 w 1720482"/>
              <a:gd name="connsiteY2" fmla="*/ 1464467 h 1772537"/>
              <a:gd name="connsiteX3" fmla="*/ 1397793 w 1720482"/>
              <a:gd name="connsiteY3" fmla="*/ 626267 h 1772537"/>
              <a:gd name="connsiteX4" fmla="*/ 835820 w 1720482"/>
              <a:gd name="connsiteY4" fmla="*/ 373856 h 1772537"/>
              <a:gd name="connsiteX5" fmla="*/ 807244 w 1720482"/>
              <a:gd name="connsiteY5" fmla="*/ 0 h 1772537"/>
              <a:gd name="connsiteX6" fmla="*/ 421482 w 1720482"/>
              <a:gd name="connsiteY6" fmla="*/ 321468 h 1772537"/>
              <a:gd name="connsiteX7" fmla="*/ 595313 w 1720482"/>
              <a:gd name="connsiteY7" fmla="*/ 766762 h 1772537"/>
              <a:gd name="connsiteX8" fmla="*/ 923925 w 1720482"/>
              <a:gd name="connsiteY8" fmla="*/ 1007267 h 1772537"/>
              <a:gd name="connsiteX9" fmla="*/ 621506 w 1720482"/>
              <a:gd name="connsiteY9" fmla="*/ 1352547 h 1772537"/>
              <a:gd name="connsiteX10" fmla="*/ 0 w 1720482"/>
              <a:gd name="connsiteY10" fmla="*/ 1119184 h 1772537"/>
              <a:gd name="connsiteX0" fmla="*/ 0 w 1630664"/>
              <a:gd name="connsiteY0" fmla="*/ 1119184 h 1772537"/>
              <a:gd name="connsiteX1" fmla="*/ 0 w 1630664"/>
              <a:gd name="connsiteY1" fmla="*/ 1647822 h 1772537"/>
              <a:gd name="connsiteX2" fmla="*/ 1476374 w 1630664"/>
              <a:gd name="connsiteY2" fmla="*/ 1464467 h 1772537"/>
              <a:gd name="connsiteX3" fmla="*/ 1397793 w 1630664"/>
              <a:gd name="connsiteY3" fmla="*/ 626267 h 1772537"/>
              <a:gd name="connsiteX4" fmla="*/ 835820 w 1630664"/>
              <a:gd name="connsiteY4" fmla="*/ 373856 h 1772537"/>
              <a:gd name="connsiteX5" fmla="*/ 807244 w 1630664"/>
              <a:gd name="connsiteY5" fmla="*/ 0 h 1772537"/>
              <a:gd name="connsiteX6" fmla="*/ 421482 w 1630664"/>
              <a:gd name="connsiteY6" fmla="*/ 321468 h 1772537"/>
              <a:gd name="connsiteX7" fmla="*/ 595313 w 1630664"/>
              <a:gd name="connsiteY7" fmla="*/ 766762 h 1772537"/>
              <a:gd name="connsiteX8" fmla="*/ 923925 w 1630664"/>
              <a:gd name="connsiteY8" fmla="*/ 1007267 h 1772537"/>
              <a:gd name="connsiteX9" fmla="*/ 621506 w 1630664"/>
              <a:gd name="connsiteY9" fmla="*/ 1352547 h 1772537"/>
              <a:gd name="connsiteX10" fmla="*/ 0 w 1630664"/>
              <a:gd name="connsiteY10" fmla="*/ 1119184 h 1772537"/>
              <a:gd name="connsiteX0" fmla="*/ 0 w 1615856"/>
              <a:gd name="connsiteY0" fmla="*/ 1119184 h 1800557"/>
              <a:gd name="connsiteX1" fmla="*/ 0 w 1615856"/>
              <a:gd name="connsiteY1" fmla="*/ 1647822 h 1800557"/>
              <a:gd name="connsiteX2" fmla="*/ 1476374 w 1615856"/>
              <a:gd name="connsiteY2" fmla="*/ 1464467 h 1800557"/>
              <a:gd name="connsiteX3" fmla="*/ 1397793 w 1615856"/>
              <a:gd name="connsiteY3" fmla="*/ 626267 h 1800557"/>
              <a:gd name="connsiteX4" fmla="*/ 835820 w 1615856"/>
              <a:gd name="connsiteY4" fmla="*/ 373856 h 1800557"/>
              <a:gd name="connsiteX5" fmla="*/ 807244 w 1615856"/>
              <a:gd name="connsiteY5" fmla="*/ 0 h 1800557"/>
              <a:gd name="connsiteX6" fmla="*/ 421482 w 1615856"/>
              <a:gd name="connsiteY6" fmla="*/ 321468 h 1800557"/>
              <a:gd name="connsiteX7" fmla="*/ 595313 w 1615856"/>
              <a:gd name="connsiteY7" fmla="*/ 766762 h 1800557"/>
              <a:gd name="connsiteX8" fmla="*/ 923925 w 1615856"/>
              <a:gd name="connsiteY8" fmla="*/ 1007267 h 1800557"/>
              <a:gd name="connsiteX9" fmla="*/ 621506 w 1615856"/>
              <a:gd name="connsiteY9" fmla="*/ 1352547 h 1800557"/>
              <a:gd name="connsiteX10" fmla="*/ 0 w 1615856"/>
              <a:gd name="connsiteY10" fmla="*/ 1119184 h 1800557"/>
              <a:gd name="connsiteX0" fmla="*/ 0 w 1626496"/>
              <a:gd name="connsiteY0" fmla="*/ 1119184 h 1800277"/>
              <a:gd name="connsiteX1" fmla="*/ 0 w 1626496"/>
              <a:gd name="connsiteY1" fmla="*/ 1647822 h 1800277"/>
              <a:gd name="connsiteX2" fmla="*/ 1476374 w 1626496"/>
              <a:gd name="connsiteY2" fmla="*/ 1464467 h 1800277"/>
              <a:gd name="connsiteX3" fmla="*/ 1397793 w 1626496"/>
              <a:gd name="connsiteY3" fmla="*/ 626267 h 1800277"/>
              <a:gd name="connsiteX4" fmla="*/ 835820 w 1626496"/>
              <a:gd name="connsiteY4" fmla="*/ 373856 h 1800277"/>
              <a:gd name="connsiteX5" fmla="*/ 807244 w 1626496"/>
              <a:gd name="connsiteY5" fmla="*/ 0 h 1800277"/>
              <a:gd name="connsiteX6" fmla="*/ 421482 w 1626496"/>
              <a:gd name="connsiteY6" fmla="*/ 321468 h 1800277"/>
              <a:gd name="connsiteX7" fmla="*/ 595313 w 1626496"/>
              <a:gd name="connsiteY7" fmla="*/ 766762 h 1800277"/>
              <a:gd name="connsiteX8" fmla="*/ 923925 w 1626496"/>
              <a:gd name="connsiteY8" fmla="*/ 1007267 h 1800277"/>
              <a:gd name="connsiteX9" fmla="*/ 621506 w 1626496"/>
              <a:gd name="connsiteY9" fmla="*/ 1352547 h 1800277"/>
              <a:gd name="connsiteX10" fmla="*/ 0 w 1626496"/>
              <a:gd name="connsiteY10" fmla="*/ 1119184 h 1800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496" h="1800277">
                <a:moveTo>
                  <a:pt x="0" y="1119184"/>
                </a:moveTo>
                <a:lnTo>
                  <a:pt x="0" y="1647822"/>
                </a:lnTo>
                <a:cubicBezTo>
                  <a:pt x="686196" y="1947462"/>
                  <a:pt x="1196953" y="1762179"/>
                  <a:pt x="1476374" y="1464467"/>
                </a:cubicBezTo>
                <a:cubicBezTo>
                  <a:pt x="1699180" y="1227076"/>
                  <a:pt x="1674781" y="817990"/>
                  <a:pt x="1397793" y="626267"/>
                </a:cubicBezTo>
                <a:cubicBezTo>
                  <a:pt x="1228944" y="509394"/>
                  <a:pt x="1023144" y="457993"/>
                  <a:pt x="835820" y="373856"/>
                </a:cubicBezTo>
                <a:cubicBezTo>
                  <a:pt x="676275" y="325437"/>
                  <a:pt x="542926" y="112711"/>
                  <a:pt x="807244" y="0"/>
                </a:cubicBezTo>
                <a:cubicBezTo>
                  <a:pt x="507207" y="50006"/>
                  <a:pt x="440530" y="235745"/>
                  <a:pt x="421482" y="321468"/>
                </a:cubicBezTo>
                <a:cubicBezTo>
                  <a:pt x="362745" y="574674"/>
                  <a:pt x="546894" y="723107"/>
                  <a:pt x="595313" y="766762"/>
                </a:cubicBezTo>
                <a:cubicBezTo>
                  <a:pt x="664369" y="835024"/>
                  <a:pt x="857250" y="884236"/>
                  <a:pt x="923925" y="1007267"/>
                </a:cubicBezTo>
                <a:cubicBezTo>
                  <a:pt x="992188" y="1158079"/>
                  <a:pt x="883541" y="1334500"/>
                  <a:pt x="621506" y="1352547"/>
                </a:cubicBezTo>
                <a:cubicBezTo>
                  <a:pt x="455755" y="1363963"/>
                  <a:pt x="205977" y="1265235"/>
                  <a:pt x="0" y="1119184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1" name="Freeform 30"/>
          <p:cNvSpPr/>
          <p:nvPr userDrawn="1"/>
        </p:nvSpPr>
        <p:spPr>
          <a:xfrm>
            <a:off x="1090169" y="2921722"/>
            <a:ext cx="377466" cy="218603"/>
          </a:xfrm>
          <a:custGeom>
            <a:avLst/>
            <a:gdLst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04937"/>
              <a:gd name="connsiteY0" fmla="*/ 635794 h 788194"/>
              <a:gd name="connsiteX1" fmla="*/ 1402556 w 1404937"/>
              <a:gd name="connsiteY1" fmla="*/ 64294 h 788194"/>
              <a:gd name="connsiteX2" fmla="*/ 547687 w 1404937"/>
              <a:gd name="connsiteY2" fmla="*/ 0 h 788194"/>
              <a:gd name="connsiteX3" fmla="*/ 14287 w 1404937"/>
              <a:gd name="connsiteY3" fmla="*/ 469106 h 788194"/>
              <a:gd name="connsiteX4" fmla="*/ 0 w 1404937"/>
              <a:gd name="connsiteY4" fmla="*/ 788194 h 788194"/>
              <a:gd name="connsiteX5" fmla="*/ 283368 w 1404937"/>
              <a:gd name="connsiteY5" fmla="*/ 438150 h 788194"/>
              <a:gd name="connsiteX6" fmla="*/ 821531 w 1404937"/>
              <a:gd name="connsiteY6" fmla="*/ 371475 h 788194"/>
              <a:gd name="connsiteX7" fmla="*/ 1404937 w 1404937"/>
              <a:gd name="connsiteY7" fmla="*/ 635794 h 788194"/>
              <a:gd name="connsiteX0" fmla="*/ 1404937 w 1413690"/>
              <a:gd name="connsiteY0" fmla="*/ 635794 h 788194"/>
              <a:gd name="connsiteX1" fmla="*/ 1402556 w 1413690"/>
              <a:gd name="connsiteY1" fmla="*/ 64294 h 788194"/>
              <a:gd name="connsiteX2" fmla="*/ 547687 w 1413690"/>
              <a:gd name="connsiteY2" fmla="*/ 0 h 788194"/>
              <a:gd name="connsiteX3" fmla="*/ 14287 w 1413690"/>
              <a:gd name="connsiteY3" fmla="*/ 469106 h 788194"/>
              <a:gd name="connsiteX4" fmla="*/ 0 w 1413690"/>
              <a:gd name="connsiteY4" fmla="*/ 788194 h 788194"/>
              <a:gd name="connsiteX5" fmla="*/ 283368 w 1413690"/>
              <a:gd name="connsiteY5" fmla="*/ 438150 h 788194"/>
              <a:gd name="connsiteX6" fmla="*/ 821531 w 1413690"/>
              <a:gd name="connsiteY6" fmla="*/ 371475 h 788194"/>
              <a:gd name="connsiteX7" fmla="*/ 1404937 w 1413690"/>
              <a:gd name="connsiteY7" fmla="*/ 635794 h 788194"/>
              <a:gd name="connsiteX0" fmla="*/ 1404937 w 1417413"/>
              <a:gd name="connsiteY0" fmla="*/ 635794 h 788194"/>
              <a:gd name="connsiteX1" fmla="*/ 1402556 w 1417413"/>
              <a:gd name="connsiteY1" fmla="*/ 64294 h 788194"/>
              <a:gd name="connsiteX2" fmla="*/ 547687 w 1417413"/>
              <a:gd name="connsiteY2" fmla="*/ 0 h 788194"/>
              <a:gd name="connsiteX3" fmla="*/ 14287 w 1417413"/>
              <a:gd name="connsiteY3" fmla="*/ 469106 h 788194"/>
              <a:gd name="connsiteX4" fmla="*/ 0 w 1417413"/>
              <a:gd name="connsiteY4" fmla="*/ 788194 h 788194"/>
              <a:gd name="connsiteX5" fmla="*/ 283368 w 1417413"/>
              <a:gd name="connsiteY5" fmla="*/ 438150 h 788194"/>
              <a:gd name="connsiteX6" fmla="*/ 821531 w 1417413"/>
              <a:gd name="connsiteY6" fmla="*/ 371475 h 788194"/>
              <a:gd name="connsiteX7" fmla="*/ 1404937 w 1417413"/>
              <a:gd name="connsiteY7" fmla="*/ 635794 h 788194"/>
              <a:gd name="connsiteX0" fmla="*/ 1404937 w 1417413"/>
              <a:gd name="connsiteY0" fmla="*/ 636458 h 788858"/>
              <a:gd name="connsiteX1" fmla="*/ 1402556 w 1417413"/>
              <a:gd name="connsiteY1" fmla="*/ 64958 h 788858"/>
              <a:gd name="connsiteX2" fmla="*/ 547687 w 1417413"/>
              <a:gd name="connsiteY2" fmla="*/ 664 h 788858"/>
              <a:gd name="connsiteX3" fmla="*/ 14287 w 1417413"/>
              <a:gd name="connsiteY3" fmla="*/ 469770 h 788858"/>
              <a:gd name="connsiteX4" fmla="*/ 0 w 1417413"/>
              <a:gd name="connsiteY4" fmla="*/ 788858 h 788858"/>
              <a:gd name="connsiteX5" fmla="*/ 283368 w 1417413"/>
              <a:gd name="connsiteY5" fmla="*/ 438814 h 788858"/>
              <a:gd name="connsiteX6" fmla="*/ 821531 w 1417413"/>
              <a:gd name="connsiteY6" fmla="*/ 372139 h 788858"/>
              <a:gd name="connsiteX7" fmla="*/ 1404937 w 1417413"/>
              <a:gd name="connsiteY7" fmla="*/ 636458 h 788858"/>
              <a:gd name="connsiteX0" fmla="*/ 1404937 w 1417413"/>
              <a:gd name="connsiteY0" fmla="*/ 659983 h 812383"/>
              <a:gd name="connsiteX1" fmla="*/ 1402556 w 1417413"/>
              <a:gd name="connsiteY1" fmla="*/ 88483 h 812383"/>
              <a:gd name="connsiteX2" fmla="*/ 547687 w 1417413"/>
              <a:gd name="connsiteY2" fmla="*/ 24189 h 812383"/>
              <a:gd name="connsiteX3" fmla="*/ 14287 w 1417413"/>
              <a:gd name="connsiteY3" fmla="*/ 493295 h 812383"/>
              <a:gd name="connsiteX4" fmla="*/ 0 w 1417413"/>
              <a:gd name="connsiteY4" fmla="*/ 812383 h 812383"/>
              <a:gd name="connsiteX5" fmla="*/ 283368 w 1417413"/>
              <a:gd name="connsiteY5" fmla="*/ 462339 h 812383"/>
              <a:gd name="connsiteX6" fmla="*/ 821531 w 1417413"/>
              <a:gd name="connsiteY6" fmla="*/ 395664 h 812383"/>
              <a:gd name="connsiteX7" fmla="*/ 1404937 w 1417413"/>
              <a:gd name="connsiteY7" fmla="*/ 659983 h 812383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4937 w 1417413"/>
              <a:gd name="connsiteY0" fmla="*/ 674932 h 827332"/>
              <a:gd name="connsiteX1" fmla="*/ 1402556 w 1417413"/>
              <a:gd name="connsiteY1" fmla="*/ 103432 h 827332"/>
              <a:gd name="connsiteX2" fmla="*/ 547687 w 1417413"/>
              <a:gd name="connsiteY2" fmla="*/ 39138 h 827332"/>
              <a:gd name="connsiteX3" fmla="*/ 14287 w 1417413"/>
              <a:gd name="connsiteY3" fmla="*/ 508244 h 827332"/>
              <a:gd name="connsiteX4" fmla="*/ 0 w 1417413"/>
              <a:gd name="connsiteY4" fmla="*/ 827332 h 827332"/>
              <a:gd name="connsiteX5" fmla="*/ 283368 w 1417413"/>
              <a:gd name="connsiteY5" fmla="*/ 477288 h 827332"/>
              <a:gd name="connsiteX6" fmla="*/ 821531 w 1417413"/>
              <a:gd name="connsiteY6" fmla="*/ 410613 h 827332"/>
              <a:gd name="connsiteX7" fmla="*/ 1404937 w 1417413"/>
              <a:gd name="connsiteY7" fmla="*/ 674932 h 827332"/>
              <a:gd name="connsiteX0" fmla="*/ 1406804 w 1419280"/>
              <a:gd name="connsiteY0" fmla="*/ 674932 h 827332"/>
              <a:gd name="connsiteX1" fmla="*/ 1404423 w 1419280"/>
              <a:gd name="connsiteY1" fmla="*/ 103432 h 827332"/>
              <a:gd name="connsiteX2" fmla="*/ 549554 w 1419280"/>
              <a:gd name="connsiteY2" fmla="*/ 39138 h 827332"/>
              <a:gd name="connsiteX3" fmla="*/ 16154 w 1419280"/>
              <a:gd name="connsiteY3" fmla="*/ 508244 h 827332"/>
              <a:gd name="connsiteX4" fmla="*/ 1867 w 1419280"/>
              <a:gd name="connsiteY4" fmla="*/ 827332 h 827332"/>
              <a:gd name="connsiteX5" fmla="*/ 285235 w 1419280"/>
              <a:gd name="connsiteY5" fmla="*/ 477288 h 827332"/>
              <a:gd name="connsiteX6" fmla="*/ 823398 w 1419280"/>
              <a:gd name="connsiteY6" fmla="*/ 410613 h 827332"/>
              <a:gd name="connsiteX7" fmla="*/ 1406804 w 1419280"/>
              <a:gd name="connsiteY7" fmla="*/ 674932 h 827332"/>
              <a:gd name="connsiteX0" fmla="*/ 1409119 w 1421595"/>
              <a:gd name="connsiteY0" fmla="*/ 674932 h 827332"/>
              <a:gd name="connsiteX1" fmla="*/ 1406738 w 1421595"/>
              <a:gd name="connsiteY1" fmla="*/ 103432 h 827332"/>
              <a:gd name="connsiteX2" fmla="*/ 551869 w 1421595"/>
              <a:gd name="connsiteY2" fmla="*/ 39138 h 827332"/>
              <a:gd name="connsiteX3" fmla="*/ 18469 w 1421595"/>
              <a:gd name="connsiteY3" fmla="*/ 508244 h 827332"/>
              <a:gd name="connsiteX4" fmla="*/ 4182 w 1421595"/>
              <a:gd name="connsiteY4" fmla="*/ 827332 h 827332"/>
              <a:gd name="connsiteX5" fmla="*/ 287550 w 1421595"/>
              <a:gd name="connsiteY5" fmla="*/ 477288 h 827332"/>
              <a:gd name="connsiteX6" fmla="*/ 825713 w 1421595"/>
              <a:gd name="connsiteY6" fmla="*/ 410613 h 827332"/>
              <a:gd name="connsiteX7" fmla="*/ 1409119 w 1421595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9564"/>
              <a:gd name="connsiteY0" fmla="*/ 674932 h 827332"/>
              <a:gd name="connsiteX1" fmla="*/ 1414707 w 1429564"/>
              <a:gd name="connsiteY1" fmla="*/ 103432 h 827332"/>
              <a:gd name="connsiteX2" fmla="*/ 559838 w 1429564"/>
              <a:gd name="connsiteY2" fmla="*/ 39138 h 827332"/>
              <a:gd name="connsiteX3" fmla="*/ 26438 w 1429564"/>
              <a:gd name="connsiteY3" fmla="*/ 508244 h 827332"/>
              <a:gd name="connsiteX4" fmla="*/ 12151 w 1429564"/>
              <a:gd name="connsiteY4" fmla="*/ 827332 h 827332"/>
              <a:gd name="connsiteX5" fmla="*/ 295519 w 1429564"/>
              <a:gd name="connsiteY5" fmla="*/ 477288 h 827332"/>
              <a:gd name="connsiteX6" fmla="*/ 833682 w 1429564"/>
              <a:gd name="connsiteY6" fmla="*/ 410613 h 827332"/>
              <a:gd name="connsiteX7" fmla="*/ 1417088 w 1429564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17088 w 1428573"/>
              <a:gd name="connsiteY0" fmla="*/ 674932 h 827332"/>
              <a:gd name="connsiteX1" fmla="*/ 1414707 w 1428573"/>
              <a:gd name="connsiteY1" fmla="*/ 103432 h 827332"/>
              <a:gd name="connsiteX2" fmla="*/ 559838 w 1428573"/>
              <a:gd name="connsiteY2" fmla="*/ 39138 h 827332"/>
              <a:gd name="connsiteX3" fmla="*/ 26438 w 1428573"/>
              <a:gd name="connsiteY3" fmla="*/ 508244 h 827332"/>
              <a:gd name="connsiteX4" fmla="*/ 12151 w 1428573"/>
              <a:gd name="connsiteY4" fmla="*/ 827332 h 827332"/>
              <a:gd name="connsiteX5" fmla="*/ 295519 w 1428573"/>
              <a:gd name="connsiteY5" fmla="*/ 477288 h 827332"/>
              <a:gd name="connsiteX6" fmla="*/ 833682 w 1428573"/>
              <a:gd name="connsiteY6" fmla="*/ 410613 h 827332"/>
              <a:gd name="connsiteX7" fmla="*/ 1417088 w 1428573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20075 w 1431560"/>
              <a:gd name="connsiteY0" fmla="*/ 674932 h 827332"/>
              <a:gd name="connsiteX1" fmla="*/ 1417694 w 1431560"/>
              <a:gd name="connsiteY1" fmla="*/ 103432 h 827332"/>
              <a:gd name="connsiteX2" fmla="*/ 562825 w 1431560"/>
              <a:gd name="connsiteY2" fmla="*/ 39138 h 827332"/>
              <a:gd name="connsiteX3" fmla="*/ 29425 w 1431560"/>
              <a:gd name="connsiteY3" fmla="*/ 508244 h 827332"/>
              <a:gd name="connsiteX4" fmla="*/ 15138 w 1431560"/>
              <a:gd name="connsiteY4" fmla="*/ 827332 h 827332"/>
              <a:gd name="connsiteX5" fmla="*/ 298506 w 1431560"/>
              <a:gd name="connsiteY5" fmla="*/ 477288 h 827332"/>
              <a:gd name="connsiteX6" fmla="*/ 836669 w 1431560"/>
              <a:gd name="connsiteY6" fmla="*/ 410613 h 827332"/>
              <a:gd name="connsiteX7" fmla="*/ 1420075 w 1431560"/>
              <a:gd name="connsiteY7" fmla="*/ 674932 h 827332"/>
              <a:gd name="connsiteX0" fmla="*/ 1417089 w 1428574"/>
              <a:gd name="connsiteY0" fmla="*/ 674932 h 827332"/>
              <a:gd name="connsiteX1" fmla="*/ 1414708 w 1428574"/>
              <a:gd name="connsiteY1" fmla="*/ 103432 h 827332"/>
              <a:gd name="connsiteX2" fmla="*/ 559839 w 1428574"/>
              <a:gd name="connsiteY2" fmla="*/ 39138 h 827332"/>
              <a:gd name="connsiteX3" fmla="*/ 26439 w 1428574"/>
              <a:gd name="connsiteY3" fmla="*/ 508244 h 827332"/>
              <a:gd name="connsiteX4" fmla="*/ 12152 w 1428574"/>
              <a:gd name="connsiteY4" fmla="*/ 827332 h 827332"/>
              <a:gd name="connsiteX5" fmla="*/ 295520 w 1428574"/>
              <a:gd name="connsiteY5" fmla="*/ 477288 h 827332"/>
              <a:gd name="connsiteX6" fmla="*/ 833683 w 1428574"/>
              <a:gd name="connsiteY6" fmla="*/ 410613 h 827332"/>
              <a:gd name="connsiteX7" fmla="*/ 1417089 w 1428574"/>
              <a:gd name="connsiteY7" fmla="*/ 674932 h 82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8574" h="827332">
                <a:moveTo>
                  <a:pt x="1417089" y="674932"/>
                </a:moveTo>
                <a:cubicBezTo>
                  <a:pt x="1435346" y="448714"/>
                  <a:pt x="1429789" y="289169"/>
                  <a:pt x="1414708" y="103432"/>
                </a:cubicBezTo>
                <a:cubicBezTo>
                  <a:pt x="1129752" y="1038"/>
                  <a:pt x="880514" y="-34681"/>
                  <a:pt x="559839" y="39138"/>
                </a:cubicBezTo>
                <a:cubicBezTo>
                  <a:pt x="324968" y="93205"/>
                  <a:pt x="103590" y="255487"/>
                  <a:pt x="26439" y="508244"/>
                </a:cubicBezTo>
                <a:cubicBezTo>
                  <a:pt x="-7732" y="620193"/>
                  <a:pt x="-4518" y="728112"/>
                  <a:pt x="12152" y="827332"/>
                </a:cubicBezTo>
                <a:cubicBezTo>
                  <a:pt x="28424" y="650723"/>
                  <a:pt x="130471" y="560134"/>
                  <a:pt x="295520" y="477288"/>
                </a:cubicBezTo>
                <a:cubicBezTo>
                  <a:pt x="460084" y="394686"/>
                  <a:pt x="654458" y="387116"/>
                  <a:pt x="833683" y="410613"/>
                </a:cubicBezTo>
                <a:cubicBezTo>
                  <a:pt x="1142452" y="451094"/>
                  <a:pt x="1298820" y="584445"/>
                  <a:pt x="1417089" y="674932"/>
                </a:cubicBezTo>
                <a:close/>
              </a:path>
            </a:pathLst>
          </a:custGeom>
          <a:solidFill>
            <a:srgbClr val="0F238D"/>
          </a:solidFill>
          <a:ln w="127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4430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hangingPunct="0"/>
            <a:endParaRPr lang="nl-NL" sz="1800">
              <a:solidFill>
                <a:srgbClr val="FFFFFF"/>
              </a:solidFill>
            </a:endParaRPr>
          </a:p>
        </p:txBody>
      </p:sp>
      <p:pic>
        <p:nvPicPr>
          <p:cNvPr id="10" name="Afbeelding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877"/>
          <a:stretch/>
        </p:blipFill>
        <p:spPr>
          <a:xfrm rot="10800000">
            <a:off x="0" y="0"/>
            <a:ext cx="4788024" cy="5143500"/>
          </a:xfrm>
          <a:prstGeom prst="rect">
            <a:avLst/>
          </a:prstGeom>
        </p:spPr>
      </p:pic>
      <p:grpSp>
        <p:nvGrpSpPr>
          <p:cNvPr id="11" name="Group 1"/>
          <p:cNvGrpSpPr/>
          <p:nvPr userDrawn="1"/>
        </p:nvGrpSpPr>
        <p:grpSpPr>
          <a:xfrm>
            <a:off x="3131840" y="2067409"/>
            <a:ext cx="2171098" cy="504342"/>
            <a:chOff x="1400522" y="2249688"/>
            <a:chExt cx="2171098" cy="608712"/>
          </a:xfrm>
        </p:grpSpPr>
        <p:sp>
          <p:nvSpPr>
            <p:cNvPr id="12" name="Freeform 26"/>
            <p:cNvSpPr/>
            <p:nvPr userDrawn="1"/>
          </p:nvSpPr>
          <p:spPr>
            <a:xfrm>
              <a:off x="1400522" y="2266322"/>
              <a:ext cx="542378" cy="580739"/>
            </a:xfrm>
            <a:custGeom>
              <a:avLst/>
              <a:gdLst>
                <a:gd name="connsiteX0" fmla="*/ 0 w 1097756"/>
                <a:gd name="connsiteY0" fmla="*/ 0 h 1181100"/>
                <a:gd name="connsiteX1" fmla="*/ 745331 w 1097756"/>
                <a:gd name="connsiteY1" fmla="*/ 0 h 1181100"/>
                <a:gd name="connsiteX2" fmla="*/ 1097756 w 1097756"/>
                <a:gd name="connsiteY2" fmla="*/ 1178718 h 1181100"/>
                <a:gd name="connsiteX3" fmla="*/ 523875 w 1097756"/>
                <a:gd name="connsiteY3" fmla="*/ 1181100 h 1181100"/>
                <a:gd name="connsiteX4" fmla="*/ 0 w 1097756"/>
                <a:gd name="connsiteY4" fmla="*/ 0 h 1181100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523875 w 1400175"/>
                <a:gd name="connsiteY3" fmla="*/ 1181100 h 2197893"/>
                <a:gd name="connsiteX4" fmla="*/ 0 w 1400175"/>
                <a:gd name="connsiteY4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1047750 w 1400175"/>
                <a:gd name="connsiteY3" fmla="*/ 1790700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50094 w 1400175"/>
                <a:gd name="connsiteY3" fmla="*/ 2193131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230981 w 1400175"/>
                <a:gd name="connsiteY5" fmla="*/ 295275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95262 w 1400175"/>
                <a:gd name="connsiteY5" fmla="*/ 1204913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135731 w 1400175"/>
                <a:gd name="connsiteY6" fmla="*/ 1102518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378619 w 1400175"/>
                <a:gd name="connsiteY7" fmla="*/ 862012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426244 w 1400175"/>
                <a:gd name="connsiteY8" fmla="*/ 1112043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52388 w 1400175"/>
                <a:gd name="connsiteY9" fmla="*/ 1131093 h 2197893"/>
                <a:gd name="connsiteX10" fmla="*/ 0 w 1400175"/>
                <a:gd name="connsiteY10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2197893 h 2197893"/>
                <a:gd name="connsiteX10" fmla="*/ 0 w 1400175"/>
                <a:gd name="connsiteY10" fmla="*/ 0 h 2197893"/>
                <a:gd name="connsiteX0" fmla="*/ 4762 w 1404937"/>
                <a:gd name="connsiteY0" fmla="*/ 0 h 2197893"/>
                <a:gd name="connsiteX1" fmla="*/ 750093 w 1404937"/>
                <a:gd name="connsiteY1" fmla="*/ 0 h 2197893"/>
                <a:gd name="connsiteX2" fmla="*/ 1404937 w 1404937"/>
                <a:gd name="connsiteY2" fmla="*/ 2197893 h 2197893"/>
                <a:gd name="connsiteX3" fmla="*/ 752475 w 1404937"/>
                <a:gd name="connsiteY3" fmla="*/ 2195512 h 2197893"/>
                <a:gd name="connsiteX4" fmla="*/ 376237 w 1404937"/>
                <a:gd name="connsiteY4" fmla="*/ 478631 h 2197893"/>
                <a:gd name="connsiteX5" fmla="*/ 178592 w 1404937"/>
                <a:gd name="connsiteY5" fmla="*/ 1383507 h 2197893"/>
                <a:gd name="connsiteX6" fmla="*/ 614362 w 1404937"/>
                <a:gd name="connsiteY6" fmla="*/ 1385887 h 2197893"/>
                <a:gd name="connsiteX7" fmla="*/ 697706 w 1404937"/>
                <a:gd name="connsiteY7" fmla="*/ 1797843 h 2197893"/>
                <a:gd name="connsiteX8" fmla="*/ 92868 w 1404937"/>
                <a:gd name="connsiteY8" fmla="*/ 1795462 h 2197893"/>
                <a:gd name="connsiteX9" fmla="*/ 4762 w 1404937"/>
                <a:gd name="connsiteY9" fmla="*/ 2197893 h 2197893"/>
                <a:gd name="connsiteX10" fmla="*/ 0 w 1404937"/>
                <a:gd name="connsiteY10" fmla="*/ 2045493 h 2197893"/>
                <a:gd name="connsiteX11" fmla="*/ 4762 w 1404937"/>
                <a:gd name="connsiteY11" fmla="*/ 0 h 2197893"/>
                <a:gd name="connsiteX0" fmla="*/ 652462 w 2052637"/>
                <a:gd name="connsiteY0" fmla="*/ 0 h 2197893"/>
                <a:gd name="connsiteX1" fmla="*/ 1397793 w 2052637"/>
                <a:gd name="connsiteY1" fmla="*/ 0 h 2197893"/>
                <a:gd name="connsiteX2" fmla="*/ 2052637 w 2052637"/>
                <a:gd name="connsiteY2" fmla="*/ 2197893 h 2197893"/>
                <a:gd name="connsiteX3" fmla="*/ 1400175 w 2052637"/>
                <a:gd name="connsiteY3" fmla="*/ 2195512 h 2197893"/>
                <a:gd name="connsiteX4" fmla="*/ 1023937 w 2052637"/>
                <a:gd name="connsiteY4" fmla="*/ 478631 h 2197893"/>
                <a:gd name="connsiteX5" fmla="*/ 826292 w 2052637"/>
                <a:gd name="connsiteY5" fmla="*/ 1383507 h 2197893"/>
                <a:gd name="connsiteX6" fmla="*/ 1262062 w 2052637"/>
                <a:gd name="connsiteY6" fmla="*/ 1385887 h 2197893"/>
                <a:gd name="connsiteX7" fmla="*/ 1345406 w 2052637"/>
                <a:gd name="connsiteY7" fmla="*/ 1797843 h 2197893"/>
                <a:gd name="connsiteX8" fmla="*/ 740568 w 2052637"/>
                <a:gd name="connsiteY8" fmla="*/ 1795462 h 2197893"/>
                <a:gd name="connsiteX9" fmla="*/ 652462 w 2052637"/>
                <a:gd name="connsiteY9" fmla="*/ 2197893 h 2197893"/>
                <a:gd name="connsiteX10" fmla="*/ 0 w 2052637"/>
                <a:gd name="connsiteY10" fmla="*/ 2193131 h 2197893"/>
                <a:gd name="connsiteX11" fmla="*/ 652462 w 2052637"/>
                <a:gd name="connsiteY11" fmla="*/ 0 h 2197893"/>
                <a:gd name="connsiteX0" fmla="*/ 652462 w 2052637"/>
                <a:gd name="connsiteY0" fmla="*/ 1 h 2197894"/>
                <a:gd name="connsiteX1" fmla="*/ 1397793 w 2052637"/>
                <a:gd name="connsiteY1" fmla="*/ 1 h 2197894"/>
                <a:gd name="connsiteX2" fmla="*/ 2052637 w 2052637"/>
                <a:gd name="connsiteY2" fmla="*/ 2197894 h 2197894"/>
                <a:gd name="connsiteX3" fmla="*/ 1400175 w 2052637"/>
                <a:gd name="connsiteY3" fmla="*/ 2195513 h 2197894"/>
                <a:gd name="connsiteX4" fmla="*/ 1023937 w 2052637"/>
                <a:gd name="connsiteY4" fmla="*/ 478632 h 2197894"/>
                <a:gd name="connsiteX5" fmla="*/ 826292 w 2052637"/>
                <a:gd name="connsiteY5" fmla="*/ 1383508 h 2197894"/>
                <a:gd name="connsiteX6" fmla="*/ 1262062 w 2052637"/>
                <a:gd name="connsiteY6" fmla="*/ 1385888 h 2197894"/>
                <a:gd name="connsiteX7" fmla="*/ 1345406 w 2052637"/>
                <a:gd name="connsiteY7" fmla="*/ 1797844 h 2197894"/>
                <a:gd name="connsiteX8" fmla="*/ 740568 w 2052637"/>
                <a:gd name="connsiteY8" fmla="*/ 1795463 h 2197894"/>
                <a:gd name="connsiteX9" fmla="*/ 652462 w 2052637"/>
                <a:gd name="connsiteY9" fmla="*/ 2197894 h 2197894"/>
                <a:gd name="connsiteX10" fmla="*/ 0 w 2052637"/>
                <a:gd name="connsiteY10" fmla="*/ 2193132 h 2197894"/>
                <a:gd name="connsiteX11" fmla="*/ 652462 w 2052637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62133 w 2052708"/>
                <a:gd name="connsiteY6" fmla="*/ 1385888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9271 w 2052708"/>
                <a:gd name="connsiteY6" fmla="*/ 1376363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5463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2708" h="2197894">
                  <a:moveTo>
                    <a:pt x="652533" y="1"/>
                  </a:moveTo>
                  <a:lnTo>
                    <a:pt x="1397864" y="1"/>
                  </a:lnTo>
                  <a:lnTo>
                    <a:pt x="2052708" y="2197894"/>
                  </a:lnTo>
                  <a:lnTo>
                    <a:pt x="1400246" y="2195513"/>
                  </a:lnTo>
                  <a:lnTo>
                    <a:pt x="1024008" y="478632"/>
                  </a:lnTo>
                  <a:lnTo>
                    <a:pt x="826363" y="1383508"/>
                  </a:lnTo>
                  <a:lnTo>
                    <a:pt x="1221653" y="1383507"/>
                  </a:lnTo>
                  <a:lnTo>
                    <a:pt x="1312139" y="1795463"/>
                  </a:lnTo>
                  <a:lnTo>
                    <a:pt x="740639" y="1795463"/>
                  </a:lnTo>
                  <a:lnTo>
                    <a:pt x="652533" y="2197894"/>
                  </a:lnTo>
                  <a:lnTo>
                    <a:pt x="71" y="2193132"/>
                  </a:lnTo>
                  <a:cubicBezTo>
                    <a:pt x="-7867" y="2197101"/>
                    <a:pt x="648565" y="-1587"/>
                    <a:pt x="652533" y="1"/>
                  </a:cubicBezTo>
                  <a:close/>
                </a:path>
              </a:pathLst>
            </a:custGeom>
            <a:solidFill>
              <a:srgbClr val="0F23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20" name="Freeform 27"/>
            <p:cNvSpPr/>
            <p:nvPr userDrawn="1"/>
          </p:nvSpPr>
          <p:spPr>
            <a:xfrm>
              <a:off x="2459219" y="2265692"/>
              <a:ext cx="660645" cy="580741"/>
            </a:xfrm>
            <a:custGeom>
              <a:avLst/>
              <a:gdLst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0 w 688182"/>
                <a:gd name="connsiteY3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214313 w 688182"/>
                <a:gd name="connsiteY3" fmla="*/ 652463 h 950119"/>
                <a:gd name="connsiteX4" fmla="*/ 0 w 688182"/>
                <a:gd name="connsiteY4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111919 w 688182"/>
                <a:gd name="connsiteY3" fmla="*/ 95250 h 950119"/>
                <a:gd name="connsiteX4" fmla="*/ 0 w 688182"/>
                <a:gd name="connsiteY4" fmla="*/ 950119 h 950119"/>
                <a:gd name="connsiteX0" fmla="*/ 0 w 723900"/>
                <a:gd name="connsiteY0" fmla="*/ 1395413 h 1395413"/>
                <a:gd name="connsiteX1" fmla="*/ 611982 w 723900"/>
                <a:gd name="connsiteY1" fmla="*/ 1395413 h 1395413"/>
                <a:gd name="connsiteX2" fmla="*/ 723900 w 723900"/>
                <a:gd name="connsiteY2" fmla="*/ 0 h 1395413"/>
                <a:gd name="connsiteX3" fmla="*/ 111919 w 723900"/>
                <a:gd name="connsiteY3" fmla="*/ 540544 h 1395413"/>
                <a:gd name="connsiteX4" fmla="*/ 0 w 723900"/>
                <a:gd name="connsiteY4" fmla="*/ 1395413 h 1395413"/>
                <a:gd name="connsiteX0" fmla="*/ 0 w 723900"/>
                <a:gd name="connsiteY0" fmla="*/ 2031206 h 2031206"/>
                <a:gd name="connsiteX1" fmla="*/ 611982 w 723900"/>
                <a:gd name="connsiteY1" fmla="*/ 2031206 h 2031206"/>
                <a:gd name="connsiteX2" fmla="*/ 723900 w 723900"/>
                <a:gd name="connsiteY2" fmla="*/ 635793 h 2031206"/>
                <a:gd name="connsiteX3" fmla="*/ 266700 w 723900"/>
                <a:gd name="connsiteY3" fmla="*/ 0 h 2031206"/>
                <a:gd name="connsiteX4" fmla="*/ 0 w 723900"/>
                <a:gd name="connsiteY4" fmla="*/ 2031206 h 2031206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283369 w 723900"/>
                <a:gd name="connsiteY3" fmla="*/ 0 h 2195513"/>
                <a:gd name="connsiteX4" fmla="*/ 0 w 723900"/>
                <a:gd name="connsiteY4" fmla="*/ 2195513 h 2195513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500063 w 723900"/>
                <a:gd name="connsiteY3" fmla="*/ 388145 h 2195513"/>
                <a:gd name="connsiteX4" fmla="*/ 283369 w 723900"/>
                <a:gd name="connsiteY4" fmla="*/ 0 h 2195513"/>
                <a:gd name="connsiteX5" fmla="*/ 0 w 723900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945356 w 945356"/>
                <a:gd name="connsiteY3" fmla="*/ 2382 h 2195513"/>
                <a:gd name="connsiteX4" fmla="*/ 283369 w 945356"/>
                <a:gd name="connsiteY4" fmla="*/ 0 h 2195513"/>
                <a:gd name="connsiteX5" fmla="*/ 0 w 945356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790575 w 945356"/>
                <a:gd name="connsiteY3" fmla="*/ 545308 h 2195513"/>
                <a:gd name="connsiteX4" fmla="*/ 945356 w 945356"/>
                <a:gd name="connsiteY4" fmla="*/ 2382 h 2195513"/>
                <a:gd name="connsiteX5" fmla="*/ 283369 w 945356"/>
                <a:gd name="connsiteY5" fmla="*/ 0 h 2195513"/>
                <a:gd name="connsiteX6" fmla="*/ 0 w 945356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252537 w 1252537"/>
                <a:gd name="connsiteY3" fmla="*/ 1333501 h 2195513"/>
                <a:gd name="connsiteX4" fmla="*/ 945356 w 1252537"/>
                <a:gd name="connsiteY4" fmla="*/ 2382 h 2195513"/>
                <a:gd name="connsiteX5" fmla="*/ 283369 w 1252537"/>
                <a:gd name="connsiteY5" fmla="*/ 0 h 2195513"/>
                <a:gd name="connsiteX6" fmla="*/ 0 w 1252537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31082 w 1252537"/>
                <a:gd name="connsiteY3" fmla="*/ 1112045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173957 w 1252537"/>
                <a:gd name="connsiteY4" fmla="*/ 1600202 h 2195513"/>
                <a:gd name="connsiteX5" fmla="*/ 1252537 w 1252537"/>
                <a:gd name="connsiteY5" fmla="*/ 1333501 h 2195513"/>
                <a:gd name="connsiteX6" fmla="*/ 945356 w 1252537"/>
                <a:gd name="connsiteY6" fmla="*/ 2382 h 2195513"/>
                <a:gd name="connsiteX7" fmla="*/ 283369 w 1252537"/>
                <a:gd name="connsiteY7" fmla="*/ 0 h 2195513"/>
                <a:gd name="connsiteX8" fmla="*/ 0 w 1252537"/>
                <a:gd name="connsiteY8" fmla="*/ 2195513 h 2195513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252537 w 1488282"/>
                <a:gd name="connsiteY5" fmla="*/ 1333501 h 2195514"/>
                <a:gd name="connsiteX6" fmla="*/ 945356 w 1488282"/>
                <a:gd name="connsiteY6" fmla="*/ 2382 h 2195514"/>
                <a:gd name="connsiteX7" fmla="*/ 283369 w 1488282"/>
                <a:gd name="connsiteY7" fmla="*/ 0 h 2195514"/>
                <a:gd name="connsiteX8" fmla="*/ 0 w 1488282"/>
                <a:gd name="connsiteY8" fmla="*/ 2195513 h 2195514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352549 w 1488282"/>
                <a:gd name="connsiteY5" fmla="*/ 1690688 h 2195514"/>
                <a:gd name="connsiteX6" fmla="*/ 1252537 w 1488282"/>
                <a:gd name="connsiteY6" fmla="*/ 1333501 h 2195514"/>
                <a:gd name="connsiteX7" fmla="*/ 945356 w 1488282"/>
                <a:gd name="connsiteY7" fmla="*/ 2382 h 2195514"/>
                <a:gd name="connsiteX8" fmla="*/ 283369 w 1488282"/>
                <a:gd name="connsiteY8" fmla="*/ 0 h 2195514"/>
                <a:gd name="connsiteX9" fmla="*/ 0 w 1488282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252537 w 1781174"/>
                <a:gd name="connsiteY6" fmla="*/ 1333501 h 2195514"/>
                <a:gd name="connsiteX7" fmla="*/ 945356 w 1781174"/>
                <a:gd name="connsiteY7" fmla="*/ 2382 h 2195514"/>
                <a:gd name="connsiteX8" fmla="*/ 283369 w 1781174"/>
                <a:gd name="connsiteY8" fmla="*/ 0 h 2195514"/>
                <a:gd name="connsiteX9" fmla="*/ 0 w 1781174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528762 w 1781174"/>
                <a:gd name="connsiteY6" fmla="*/ 1052513 h 2195514"/>
                <a:gd name="connsiteX7" fmla="*/ 1252537 w 1781174"/>
                <a:gd name="connsiteY7" fmla="*/ 1333501 h 2195514"/>
                <a:gd name="connsiteX8" fmla="*/ 945356 w 1781174"/>
                <a:gd name="connsiteY8" fmla="*/ 2382 h 2195514"/>
                <a:gd name="connsiteX9" fmla="*/ 283369 w 1781174"/>
                <a:gd name="connsiteY9" fmla="*/ 0 h 2195514"/>
                <a:gd name="connsiteX10" fmla="*/ 0 w 1781174"/>
                <a:gd name="connsiteY10" fmla="*/ 2195513 h 2195514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559719 w 1781174"/>
                <a:gd name="connsiteY6" fmla="*/ 0 h 2197895"/>
                <a:gd name="connsiteX7" fmla="*/ 1252537 w 1781174"/>
                <a:gd name="connsiteY7" fmla="*/ 1335882 h 2197895"/>
                <a:gd name="connsiteX8" fmla="*/ 945356 w 1781174"/>
                <a:gd name="connsiteY8" fmla="*/ 4763 h 2197895"/>
                <a:gd name="connsiteX9" fmla="*/ 283369 w 1781174"/>
                <a:gd name="connsiteY9" fmla="*/ 2381 h 2197895"/>
                <a:gd name="connsiteX10" fmla="*/ 0 w 1781174"/>
                <a:gd name="connsiteY10" fmla="*/ 2197894 h 2197895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688306 w 1781174"/>
                <a:gd name="connsiteY6" fmla="*/ 454820 h 2197895"/>
                <a:gd name="connsiteX7" fmla="*/ 1559719 w 1781174"/>
                <a:gd name="connsiteY7" fmla="*/ 0 h 2197895"/>
                <a:gd name="connsiteX8" fmla="*/ 1252537 w 1781174"/>
                <a:gd name="connsiteY8" fmla="*/ 1335882 h 2197895"/>
                <a:gd name="connsiteX9" fmla="*/ 945356 w 1781174"/>
                <a:gd name="connsiteY9" fmla="*/ 4763 h 2197895"/>
                <a:gd name="connsiteX10" fmla="*/ 283369 w 1781174"/>
                <a:gd name="connsiteY10" fmla="*/ 2381 h 2197895"/>
                <a:gd name="connsiteX11" fmla="*/ 0 w 1781174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212181 w 2212181"/>
                <a:gd name="connsiteY6" fmla="*/ 7145 h 2197895"/>
                <a:gd name="connsiteX7" fmla="*/ 1559719 w 2212181"/>
                <a:gd name="connsiteY7" fmla="*/ 0 h 2197895"/>
                <a:gd name="connsiteX8" fmla="*/ 1252537 w 2212181"/>
                <a:gd name="connsiteY8" fmla="*/ 1335882 h 2197895"/>
                <a:gd name="connsiteX9" fmla="*/ 945356 w 2212181"/>
                <a:gd name="connsiteY9" fmla="*/ 4763 h 2197895"/>
                <a:gd name="connsiteX10" fmla="*/ 283369 w 2212181"/>
                <a:gd name="connsiteY10" fmla="*/ 2381 h 2197895"/>
                <a:gd name="connsiteX11" fmla="*/ 0 w 2212181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035968 w 2212181"/>
                <a:gd name="connsiteY6" fmla="*/ 328614 h 2197895"/>
                <a:gd name="connsiteX7" fmla="*/ 2212181 w 2212181"/>
                <a:gd name="connsiteY7" fmla="*/ 7145 h 2197895"/>
                <a:gd name="connsiteX8" fmla="*/ 1559719 w 2212181"/>
                <a:gd name="connsiteY8" fmla="*/ 0 h 2197895"/>
                <a:gd name="connsiteX9" fmla="*/ 1252537 w 2212181"/>
                <a:gd name="connsiteY9" fmla="*/ 1335882 h 2197895"/>
                <a:gd name="connsiteX10" fmla="*/ 945356 w 2212181"/>
                <a:gd name="connsiteY10" fmla="*/ 4763 h 2197895"/>
                <a:gd name="connsiteX11" fmla="*/ 283369 w 2212181"/>
                <a:gd name="connsiteY11" fmla="*/ 2381 h 2197895"/>
                <a:gd name="connsiteX12" fmla="*/ 0 w 2212181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500312 w 2500312"/>
                <a:gd name="connsiteY6" fmla="*/ 2197895 h 2197895"/>
                <a:gd name="connsiteX7" fmla="*/ 2212181 w 2500312"/>
                <a:gd name="connsiteY7" fmla="*/ 7145 h 2197895"/>
                <a:gd name="connsiteX8" fmla="*/ 1559719 w 2500312"/>
                <a:gd name="connsiteY8" fmla="*/ 0 h 2197895"/>
                <a:gd name="connsiteX9" fmla="*/ 1252537 w 2500312"/>
                <a:gd name="connsiteY9" fmla="*/ 1335882 h 2197895"/>
                <a:gd name="connsiteX10" fmla="*/ 945356 w 2500312"/>
                <a:gd name="connsiteY10" fmla="*/ 4763 h 2197895"/>
                <a:gd name="connsiteX11" fmla="*/ 283369 w 2500312"/>
                <a:gd name="connsiteY11" fmla="*/ 2381 h 2197895"/>
                <a:gd name="connsiteX12" fmla="*/ 0 w 2500312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190748 w 2500312"/>
                <a:gd name="connsiteY6" fmla="*/ 1595439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76411 w 2500312"/>
                <a:gd name="connsiteY5" fmla="*/ 809626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00312" h="2197895">
                  <a:moveTo>
                    <a:pt x="0" y="2197894"/>
                  </a:moveTo>
                  <a:lnTo>
                    <a:pt x="611982" y="2197894"/>
                  </a:lnTo>
                  <a:lnTo>
                    <a:pt x="723900" y="802481"/>
                  </a:lnTo>
                  <a:lnTo>
                    <a:pt x="1007270" y="2195513"/>
                  </a:lnTo>
                  <a:lnTo>
                    <a:pt x="1488282" y="2197895"/>
                  </a:lnTo>
                  <a:lnTo>
                    <a:pt x="1776411" y="809626"/>
                  </a:lnTo>
                  <a:lnTo>
                    <a:pt x="1883567" y="2195514"/>
                  </a:lnTo>
                  <a:lnTo>
                    <a:pt x="2500312" y="2197895"/>
                  </a:lnTo>
                  <a:lnTo>
                    <a:pt x="2212181" y="7145"/>
                  </a:lnTo>
                  <a:lnTo>
                    <a:pt x="1559719" y="0"/>
                  </a:lnTo>
                  <a:lnTo>
                    <a:pt x="1252537" y="1335882"/>
                  </a:lnTo>
                  <a:lnTo>
                    <a:pt x="945356" y="4763"/>
                  </a:lnTo>
                  <a:lnTo>
                    <a:pt x="283369" y="2381"/>
                  </a:lnTo>
                  <a:lnTo>
                    <a:pt x="0" y="2197894"/>
                  </a:ln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21" name="Freeform 28"/>
            <p:cNvSpPr/>
            <p:nvPr userDrawn="1"/>
          </p:nvSpPr>
          <p:spPr>
            <a:xfrm>
              <a:off x="3200400" y="2266950"/>
              <a:ext cx="371220" cy="578852"/>
            </a:xfrm>
            <a:custGeom>
              <a:avLst/>
              <a:gdLst>
                <a:gd name="connsiteX0" fmla="*/ 0 w 1428750"/>
                <a:gd name="connsiteY0" fmla="*/ 997744 h 997744"/>
                <a:gd name="connsiteX1" fmla="*/ 1404937 w 1428750"/>
                <a:gd name="connsiteY1" fmla="*/ 997744 h 997744"/>
                <a:gd name="connsiteX2" fmla="*/ 1404937 w 1428750"/>
                <a:gd name="connsiteY2" fmla="*/ 538163 h 997744"/>
                <a:gd name="connsiteX3" fmla="*/ 1428750 w 1428750"/>
                <a:gd name="connsiteY3" fmla="*/ 540544 h 997744"/>
                <a:gd name="connsiteX4" fmla="*/ 590550 w 1428750"/>
                <a:gd name="connsiteY4" fmla="*/ 540544 h 997744"/>
                <a:gd name="connsiteX5" fmla="*/ 590550 w 1428750"/>
                <a:gd name="connsiteY5" fmla="*/ 0 h 997744"/>
                <a:gd name="connsiteX6" fmla="*/ 0 w 1428750"/>
                <a:gd name="connsiteY6" fmla="*/ 0 h 997744"/>
                <a:gd name="connsiteX7" fmla="*/ 0 w 1428750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1219200 w 1404937"/>
                <a:gd name="connsiteY3" fmla="*/ 476250 h 997744"/>
                <a:gd name="connsiteX4" fmla="*/ 590550 w 1404937"/>
                <a:gd name="connsiteY4" fmla="*/ 540544 h 997744"/>
                <a:gd name="connsiteX5" fmla="*/ 590550 w 1404937"/>
                <a:gd name="connsiteY5" fmla="*/ 0 h 997744"/>
                <a:gd name="connsiteX6" fmla="*/ 0 w 1404937"/>
                <a:gd name="connsiteY6" fmla="*/ 0 h 997744"/>
                <a:gd name="connsiteX7" fmla="*/ 0 w 1404937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590550 w 1404937"/>
                <a:gd name="connsiteY3" fmla="*/ 540544 h 997744"/>
                <a:gd name="connsiteX4" fmla="*/ 590550 w 1404937"/>
                <a:gd name="connsiteY4" fmla="*/ 0 h 997744"/>
                <a:gd name="connsiteX5" fmla="*/ 0 w 1404937"/>
                <a:gd name="connsiteY5" fmla="*/ 0 h 997744"/>
                <a:gd name="connsiteX6" fmla="*/ 0 w 1404937"/>
                <a:gd name="connsiteY6" fmla="*/ 997744 h 997744"/>
                <a:gd name="connsiteX0" fmla="*/ 0 w 1404937"/>
                <a:gd name="connsiteY0" fmla="*/ 1614488 h 1614488"/>
                <a:gd name="connsiteX1" fmla="*/ 1404937 w 1404937"/>
                <a:gd name="connsiteY1" fmla="*/ 1614488 h 1614488"/>
                <a:gd name="connsiteX2" fmla="*/ 1404937 w 1404937"/>
                <a:gd name="connsiteY2" fmla="*/ 1154907 h 1614488"/>
                <a:gd name="connsiteX3" fmla="*/ 590550 w 1404937"/>
                <a:gd name="connsiteY3" fmla="*/ 1157288 h 1614488"/>
                <a:gd name="connsiteX4" fmla="*/ 592931 w 1404937"/>
                <a:gd name="connsiteY4" fmla="*/ 0 h 1614488"/>
                <a:gd name="connsiteX5" fmla="*/ 0 w 1404937"/>
                <a:gd name="connsiteY5" fmla="*/ 616744 h 1614488"/>
                <a:gd name="connsiteX6" fmla="*/ 0 w 1404937"/>
                <a:gd name="connsiteY6" fmla="*/ 1614488 h 1614488"/>
                <a:gd name="connsiteX0" fmla="*/ 0 w 1404937"/>
                <a:gd name="connsiteY0" fmla="*/ 2188369 h 2188369"/>
                <a:gd name="connsiteX1" fmla="*/ 1404937 w 1404937"/>
                <a:gd name="connsiteY1" fmla="*/ 2188369 h 2188369"/>
                <a:gd name="connsiteX2" fmla="*/ 1404937 w 1404937"/>
                <a:gd name="connsiteY2" fmla="*/ 1728788 h 2188369"/>
                <a:gd name="connsiteX3" fmla="*/ 590550 w 1404937"/>
                <a:gd name="connsiteY3" fmla="*/ 1731169 h 2188369"/>
                <a:gd name="connsiteX4" fmla="*/ 592931 w 1404937"/>
                <a:gd name="connsiteY4" fmla="*/ 573881 h 2188369"/>
                <a:gd name="connsiteX5" fmla="*/ 2382 w 1404937"/>
                <a:gd name="connsiteY5" fmla="*/ 0 h 2188369"/>
                <a:gd name="connsiteX6" fmla="*/ 0 w 1404937"/>
                <a:gd name="connsiteY6" fmla="*/ 2188369 h 2188369"/>
                <a:gd name="connsiteX0" fmla="*/ 0 w 1404937"/>
                <a:gd name="connsiteY0" fmla="*/ 2190750 h 2190750"/>
                <a:gd name="connsiteX1" fmla="*/ 1404937 w 1404937"/>
                <a:gd name="connsiteY1" fmla="*/ 2190750 h 2190750"/>
                <a:gd name="connsiteX2" fmla="*/ 1404937 w 1404937"/>
                <a:gd name="connsiteY2" fmla="*/ 1731169 h 2190750"/>
                <a:gd name="connsiteX3" fmla="*/ 590550 w 1404937"/>
                <a:gd name="connsiteY3" fmla="*/ 1733550 h 2190750"/>
                <a:gd name="connsiteX4" fmla="*/ 592931 w 1404937"/>
                <a:gd name="connsiteY4" fmla="*/ 0 h 2190750"/>
                <a:gd name="connsiteX5" fmla="*/ 2382 w 1404937"/>
                <a:gd name="connsiteY5" fmla="*/ 2381 h 2190750"/>
                <a:gd name="connsiteX6" fmla="*/ 0 w 1404937"/>
                <a:gd name="connsiteY6" fmla="*/ 2190750 h 219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4937" h="2190750">
                  <a:moveTo>
                    <a:pt x="0" y="2190750"/>
                  </a:moveTo>
                  <a:lnTo>
                    <a:pt x="1404937" y="2190750"/>
                  </a:lnTo>
                  <a:lnTo>
                    <a:pt x="1404937" y="1731169"/>
                  </a:lnTo>
                  <a:lnTo>
                    <a:pt x="590550" y="1733550"/>
                  </a:lnTo>
                  <a:cubicBezTo>
                    <a:pt x="591344" y="1347787"/>
                    <a:pt x="592137" y="385763"/>
                    <a:pt x="592931" y="0"/>
                  </a:cubicBezTo>
                  <a:lnTo>
                    <a:pt x="2382" y="2381"/>
                  </a:lnTo>
                  <a:cubicBezTo>
                    <a:pt x="3969" y="334962"/>
                    <a:pt x="3175" y="1858169"/>
                    <a:pt x="0" y="2190750"/>
                  </a:cubicBez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22" name="Freeform 29"/>
            <p:cNvSpPr/>
            <p:nvPr userDrawn="1"/>
          </p:nvSpPr>
          <p:spPr>
            <a:xfrm>
              <a:off x="1978134" y="2382720"/>
              <a:ext cx="429762" cy="475680"/>
            </a:xfrm>
            <a:custGeom>
              <a:avLst/>
              <a:gdLst>
                <a:gd name="connsiteX0" fmla="*/ 0 w 483394"/>
                <a:gd name="connsiteY0" fmla="*/ 0 h 645319"/>
                <a:gd name="connsiteX1" fmla="*/ 0 w 483394"/>
                <a:gd name="connsiteY1" fmla="*/ 528638 h 645319"/>
                <a:gd name="connsiteX2" fmla="*/ 33338 w 483394"/>
                <a:gd name="connsiteY2" fmla="*/ 528638 h 645319"/>
                <a:gd name="connsiteX3" fmla="*/ 381000 w 483394"/>
                <a:gd name="connsiteY3" fmla="*/ 645319 h 645319"/>
                <a:gd name="connsiteX4" fmla="*/ 483394 w 483394"/>
                <a:gd name="connsiteY4" fmla="*/ 216694 h 645319"/>
                <a:gd name="connsiteX5" fmla="*/ 0 w 483394"/>
                <a:gd name="connsiteY5" fmla="*/ 0 h 645319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714375"/>
                <a:gd name="connsiteX1" fmla="*/ 0 w 1626394"/>
                <a:gd name="connsiteY1" fmla="*/ 528638 h 714375"/>
                <a:gd name="connsiteX2" fmla="*/ 354807 w 1626394"/>
                <a:gd name="connsiteY2" fmla="*/ 714375 h 714375"/>
                <a:gd name="connsiteX3" fmla="*/ 1626394 w 1626394"/>
                <a:gd name="connsiteY3" fmla="*/ 7144 h 714375"/>
                <a:gd name="connsiteX4" fmla="*/ 483394 w 1626394"/>
                <a:gd name="connsiteY4" fmla="*/ 216694 h 714375"/>
                <a:gd name="connsiteX5" fmla="*/ 0 w 1626394"/>
                <a:gd name="connsiteY5" fmla="*/ 0 h 714375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681404"/>
                <a:gd name="connsiteX1" fmla="*/ 0 w 1626394"/>
                <a:gd name="connsiteY1" fmla="*/ 528638 h 681404"/>
                <a:gd name="connsiteX2" fmla="*/ 1626394 w 1626394"/>
                <a:gd name="connsiteY2" fmla="*/ 7144 h 681404"/>
                <a:gd name="connsiteX3" fmla="*/ 483394 w 1626394"/>
                <a:gd name="connsiteY3" fmla="*/ 216694 h 681404"/>
                <a:gd name="connsiteX4" fmla="*/ 0 w 1626394"/>
                <a:gd name="connsiteY4" fmla="*/ 0 h 681404"/>
                <a:gd name="connsiteX0" fmla="*/ 0 w 1626394"/>
                <a:gd name="connsiteY0" fmla="*/ 0 h 661055"/>
                <a:gd name="connsiteX1" fmla="*/ 0 w 1626394"/>
                <a:gd name="connsiteY1" fmla="*/ 528638 h 661055"/>
                <a:gd name="connsiteX2" fmla="*/ 1626394 w 1626394"/>
                <a:gd name="connsiteY2" fmla="*/ 7144 h 661055"/>
                <a:gd name="connsiteX3" fmla="*/ 483394 w 1626394"/>
                <a:gd name="connsiteY3" fmla="*/ 216694 h 661055"/>
                <a:gd name="connsiteX4" fmla="*/ 0 w 1626394"/>
                <a:gd name="connsiteY4" fmla="*/ 0 h 661055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483394 w 1626394"/>
                <a:gd name="connsiteY3" fmla="*/ 216694 h 678971"/>
                <a:gd name="connsiteX4" fmla="*/ 0 w 1626394"/>
                <a:gd name="connsiteY4" fmla="*/ 0 h 678971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621506 w 1626394"/>
                <a:gd name="connsiteY3" fmla="*/ 233363 h 678971"/>
                <a:gd name="connsiteX4" fmla="*/ 0 w 1626394"/>
                <a:gd name="connsiteY4" fmla="*/ 0 h 67897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621506 w 1626394"/>
                <a:gd name="connsiteY3" fmla="*/ 238223 h 683831"/>
                <a:gd name="connsiteX4" fmla="*/ 0 w 1626394"/>
                <a:gd name="connsiteY4" fmla="*/ 4860 h 68383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1066800 w 1626394"/>
                <a:gd name="connsiteY3" fmla="*/ 135830 h 683831"/>
                <a:gd name="connsiteX4" fmla="*/ 621506 w 1626394"/>
                <a:gd name="connsiteY4" fmla="*/ 238223 h 683831"/>
                <a:gd name="connsiteX5" fmla="*/ 0 w 1626394"/>
                <a:gd name="connsiteY5" fmla="*/ 4860 h 683831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923925 w 1626394"/>
                <a:gd name="connsiteY3" fmla="*/ 0 h 790888"/>
                <a:gd name="connsiteX4" fmla="*/ 621506 w 1626394"/>
                <a:gd name="connsiteY4" fmla="*/ 345280 h 790888"/>
                <a:gd name="connsiteX5" fmla="*/ 0 w 1626394"/>
                <a:gd name="connsiteY5" fmla="*/ 111917 h 790888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1059656 w 1626394"/>
                <a:gd name="connsiteY3" fmla="*/ 23812 h 790888"/>
                <a:gd name="connsiteX4" fmla="*/ 923925 w 1626394"/>
                <a:gd name="connsiteY4" fmla="*/ 0 h 790888"/>
                <a:gd name="connsiteX5" fmla="*/ 621506 w 1626394"/>
                <a:gd name="connsiteY5" fmla="*/ 345280 h 790888"/>
                <a:gd name="connsiteX6" fmla="*/ 0 w 1626394"/>
                <a:gd name="connsiteY6" fmla="*/ 111917 h 790888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35310"/>
                <a:gd name="connsiteY0" fmla="*/ 538161 h 1066802"/>
                <a:gd name="connsiteX1" fmla="*/ 0 w 1635310"/>
                <a:gd name="connsiteY1" fmla="*/ 1066799 h 1066802"/>
                <a:gd name="connsiteX2" fmla="*/ 1626394 w 1635310"/>
                <a:gd name="connsiteY2" fmla="*/ 545305 h 1066802"/>
                <a:gd name="connsiteX3" fmla="*/ 1323974 w 1635310"/>
                <a:gd name="connsiteY3" fmla="*/ 0 h 1066802"/>
                <a:gd name="connsiteX4" fmla="*/ 923925 w 1635310"/>
                <a:gd name="connsiteY4" fmla="*/ 426244 h 1066802"/>
                <a:gd name="connsiteX5" fmla="*/ 621506 w 1635310"/>
                <a:gd name="connsiteY5" fmla="*/ 771524 h 1066802"/>
                <a:gd name="connsiteX6" fmla="*/ 0 w 1635310"/>
                <a:gd name="connsiteY6" fmla="*/ 538161 h 1066802"/>
                <a:gd name="connsiteX0" fmla="*/ 0 w 1632620"/>
                <a:gd name="connsiteY0" fmla="*/ 538161 h 1083110"/>
                <a:gd name="connsiteX1" fmla="*/ 0 w 1632620"/>
                <a:gd name="connsiteY1" fmla="*/ 1066799 h 1083110"/>
                <a:gd name="connsiteX2" fmla="*/ 1626394 w 1632620"/>
                <a:gd name="connsiteY2" fmla="*/ 545305 h 1083110"/>
                <a:gd name="connsiteX3" fmla="*/ 1323974 w 1632620"/>
                <a:gd name="connsiteY3" fmla="*/ 0 h 1083110"/>
                <a:gd name="connsiteX4" fmla="*/ 923925 w 1632620"/>
                <a:gd name="connsiteY4" fmla="*/ 426244 h 1083110"/>
                <a:gd name="connsiteX5" fmla="*/ 621506 w 1632620"/>
                <a:gd name="connsiteY5" fmla="*/ 771524 h 1083110"/>
                <a:gd name="connsiteX6" fmla="*/ 0 w 1632620"/>
                <a:gd name="connsiteY6" fmla="*/ 538161 h 1083110"/>
                <a:gd name="connsiteX0" fmla="*/ 0 w 1638832"/>
                <a:gd name="connsiteY0" fmla="*/ 538161 h 1079262"/>
                <a:gd name="connsiteX1" fmla="*/ 0 w 1638832"/>
                <a:gd name="connsiteY1" fmla="*/ 1066799 h 1079262"/>
                <a:gd name="connsiteX2" fmla="*/ 1626394 w 1638832"/>
                <a:gd name="connsiteY2" fmla="*/ 545305 h 1079262"/>
                <a:gd name="connsiteX3" fmla="*/ 1323974 w 1638832"/>
                <a:gd name="connsiteY3" fmla="*/ 0 h 1079262"/>
                <a:gd name="connsiteX4" fmla="*/ 923925 w 1638832"/>
                <a:gd name="connsiteY4" fmla="*/ 426244 h 1079262"/>
                <a:gd name="connsiteX5" fmla="*/ 621506 w 1638832"/>
                <a:gd name="connsiteY5" fmla="*/ 771524 h 1079262"/>
                <a:gd name="connsiteX6" fmla="*/ 0 w 1638832"/>
                <a:gd name="connsiteY6" fmla="*/ 538161 h 1079262"/>
                <a:gd name="connsiteX0" fmla="*/ 0 w 1629379"/>
                <a:gd name="connsiteY0" fmla="*/ 538161 h 1066897"/>
                <a:gd name="connsiteX1" fmla="*/ 0 w 1629379"/>
                <a:gd name="connsiteY1" fmla="*/ 1066799 h 1066897"/>
                <a:gd name="connsiteX2" fmla="*/ 1616869 w 1629379"/>
                <a:gd name="connsiteY2" fmla="*/ 409574 h 1066897"/>
                <a:gd name="connsiteX3" fmla="*/ 1323974 w 1629379"/>
                <a:gd name="connsiteY3" fmla="*/ 0 h 1066897"/>
                <a:gd name="connsiteX4" fmla="*/ 923925 w 1629379"/>
                <a:gd name="connsiteY4" fmla="*/ 426244 h 1066897"/>
                <a:gd name="connsiteX5" fmla="*/ 621506 w 1629379"/>
                <a:gd name="connsiteY5" fmla="*/ 771524 h 1066897"/>
                <a:gd name="connsiteX6" fmla="*/ 0 w 1629379"/>
                <a:gd name="connsiteY6" fmla="*/ 538161 h 1066897"/>
                <a:gd name="connsiteX0" fmla="*/ 0 w 1620913"/>
                <a:gd name="connsiteY0" fmla="*/ 538161 h 1107877"/>
                <a:gd name="connsiteX1" fmla="*/ 0 w 1620913"/>
                <a:gd name="connsiteY1" fmla="*/ 1066799 h 1107877"/>
                <a:gd name="connsiteX2" fmla="*/ 1616869 w 1620913"/>
                <a:gd name="connsiteY2" fmla="*/ 409574 h 1107877"/>
                <a:gd name="connsiteX3" fmla="*/ 1323974 w 1620913"/>
                <a:gd name="connsiteY3" fmla="*/ 0 h 1107877"/>
                <a:gd name="connsiteX4" fmla="*/ 923925 w 1620913"/>
                <a:gd name="connsiteY4" fmla="*/ 426244 h 1107877"/>
                <a:gd name="connsiteX5" fmla="*/ 621506 w 1620913"/>
                <a:gd name="connsiteY5" fmla="*/ 771524 h 1107877"/>
                <a:gd name="connsiteX6" fmla="*/ 0 w 1620913"/>
                <a:gd name="connsiteY6" fmla="*/ 538161 h 1107877"/>
                <a:gd name="connsiteX0" fmla="*/ 0 w 1620913"/>
                <a:gd name="connsiteY0" fmla="*/ 538161 h 1218265"/>
                <a:gd name="connsiteX1" fmla="*/ 0 w 1620913"/>
                <a:gd name="connsiteY1" fmla="*/ 1066799 h 1218265"/>
                <a:gd name="connsiteX2" fmla="*/ 1616869 w 1620913"/>
                <a:gd name="connsiteY2" fmla="*/ 409574 h 1218265"/>
                <a:gd name="connsiteX3" fmla="*/ 1323974 w 1620913"/>
                <a:gd name="connsiteY3" fmla="*/ 0 h 1218265"/>
                <a:gd name="connsiteX4" fmla="*/ 923925 w 1620913"/>
                <a:gd name="connsiteY4" fmla="*/ 426244 h 1218265"/>
                <a:gd name="connsiteX5" fmla="*/ 621506 w 1620913"/>
                <a:gd name="connsiteY5" fmla="*/ 771524 h 1218265"/>
                <a:gd name="connsiteX6" fmla="*/ 0 w 1620913"/>
                <a:gd name="connsiteY6" fmla="*/ 538161 h 1218265"/>
                <a:gd name="connsiteX0" fmla="*/ 0 w 1620913"/>
                <a:gd name="connsiteY0" fmla="*/ 538161 h 1066799"/>
                <a:gd name="connsiteX1" fmla="*/ 0 w 1620913"/>
                <a:gd name="connsiteY1" fmla="*/ 1066799 h 1066799"/>
                <a:gd name="connsiteX2" fmla="*/ 1616869 w 1620913"/>
                <a:gd name="connsiteY2" fmla="*/ 409574 h 1066799"/>
                <a:gd name="connsiteX3" fmla="*/ 1323974 w 1620913"/>
                <a:gd name="connsiteY3" fmla="*/ 0 h 1066799"/>
                <a:gd name="connsiteX4" fmla="*/ 923925 w 1620913"/>
                <a:gd name="connsiteY4" fmla="*/ 426244 h 1066799"/>
                <a:gd name="connsiteX5" fmla="*/ 621506 w 1620913"/>
                <a:gd name="connsiteY5" fmla="*/ 771524 h 1066799"/>
                <a:gd name="connsiteX6" fmla="*/ 0 w 1620913"/>
                <a:gd name="connsiteY6" fmla="*/ 538161 h 1066799"/>
                <a:gd name="connsiteX0" fmla="*/ 0 w 1620913"/>
                <a:gd name="connsiteY0" fmla="*/ 538161 h 1213299"/>
                <a:gd name="connsiteX1" fmla="*/ 0 w 1620913"/>
                <a:gd name="connsiteY1" fmla="*/ 1066799 h 1213299"/>
                <a:gd name="connsiteX2" fmla="*/ 1616869 w 1620913"/>
                <a:gd name="connsiteY2" fmla="*/ 409574 h 1213299"/>
                <a:gd name="connsiteX3" fmla="*/ 1323974 w 1620913"/>
                <a:gd name="connsiteY3" fmla="*/ 0 h 1213299"/>
                <a:gd name="connsiteX4" fmla="*/ 923925 w 1620913"/>
                <a:gd name="connsiteY4" fmla="*/ 426244 h 1213299"/>
                <a:gd name="connsiteX5" fmla="*/ 621506 w 1620913"/>
                <a:gd name="connsiteY5" fmla="*/ 771524 h 1213299"/>
                <a:gd name="connsiteX6" fmla="*/ 0 w 1620913"/>
                <a:gd name="connsiteY6" fmla="*/ 538161 h 121329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32881"/>
                <a:gd name="connsiteY0" fmla="*/ 538161 h 1232035"/>
                <a:gd name="connsiteX1" fmla="*/ 0 w 1632881"/>
                <a:gd name="connsiteY1" fmla="*/ 1066799 h 1232035"/>
                <a:gd name="connsiteX2" fmla="*/ 1621631 w 1632881"/>
                <a:gd name="connsiteY2" fmla="*/ 523874 h 1232035"/>
                <a:gd name="connsiteX3" fmla="*/ 1323974 w 1632881"/>
                <a:gd name="connsiteY3" fmla="*/ 0 h 1232035"/>
                <a:gd name="connsiteX4" fmla="*/ 923925 w 1632881"/>
                <a:gd name="connsiteY4" fmla="*/ 426244 h 1232035"/>
                <a:gd name="connsiteX5" fmla="*/ 621506 w 1632881"/>
                <a:gd name="connsiteY5" fmla="*/ 771524 h 1232035"/>
                <a:gd name="connsiteX6" fmla="*/ 0 w 1632881"/>
                <a:gd name="connsiteY6" fmla="*/ 538161 h 1232035"/>
                <a:gd name="connsiteX0" fmla="*/ 0 w 1622936"/>
                <a:gd name="connsiteY0" fmla="*/ 538161 h 1236750"/>
                <a:gd name="connsiteX1" fmla="*/ 0 w 1622936"/>
                <a:gd name="connsiteY1" fmla="*/ 1066799 h 1236750"/>
                <a:gd name="connsiteX2" fmla="*/ 1621631 w 1622936"/>
                <a:gd name="connsiteY2" fmla="*/ 523874 h 1236750"/>
                <a:gd name="connsiteX3" fmla="*/ 1323974 w 1622936"/>
                <a:gd name="connsiteY3" fmla="*/ 0 h 1236750"/>
                <a:gd name="connsiteX4" fmla="*/ 923925 w 1622936"/>
                <a:gd name="connsiteY4" fmla="*/ 426244 h 1236750"/>
                <a:gd name="connsiteX5" fmla="*/ 621506 w 1622936"/>
                <a:gd name="connsiteY5" fmla="*/ 771524 h 1236750"/>
                <a:gd name="connsiteX6" fmla="*/ 0 w 1622936"/>
                <a:gd name="connsiteY6" fmla="*/ 538161 h 1236750"/>
                <a:gd name="connsiteX0" fmla="*/ 0 w 1627932"/>
                <a:gd name="connsiteY0" fmla="*/ 538161 h 1227283"/>
                <a:gd name="connsiteX1" fmla="*/ 0 w 1627932"/>
                <a:gd name="connsiteY1" fmla="*/ 1066799 h 1227283"/>
                <a:gd name="connsiteX2" fmla="*/ 1621631 w 1627932"/>
                <a:gd name="connsiteY2" fmla="*/ 523874 h 1227283"/>
                <a:gd name="connsiteX3" fmla="*/ 1323974 w 1627932"/>
                <a:gd name="connsiteY3" fmla="*/ 0 h 1227283"/>
                <a:gd name="connsiteX4" fmla="*/ 923925 w 1627932"/>
                <a:gd name="connsiteY4" fmla="*/ 426244 h 1227283"/>
                <a:gd name="connsiteX5" fmla="*/ 621506 w 1627932"/>
                <a:gd name="connsiteY5" fmla="*/ 771524 h 1227283"/>
                <a:gd name="connsiteX6" fmla="*/ 0 w 1627932"/>
                <a:gd name="connsiteY6" fmla="*/ 538161 h 1227283"/>
                <a:gd name="connsiteX0" fmla="*/ 0 w 1627932"/>
                <a:gd name="connsiteY0" fmla="*/ 538161 h 1066799"/>
                <a:gd name="connsiteX1" fmla="*/ 0 w 1627932"/>
                <a:gd name="connsiteY1" fmla="*/ 1066799 h 1066799"/>
                <a:gd name="connsiteX2" fmla="*/ 1621631 w 1627932"/>
                <a:gd name="connsiteY2" fmla="*/ 523874 h 1066799"/>
                <a:gd name="connsiteX3" fmla="*/ 1323974 w 1627932"/>
                <a:gd name="connsiteY3" fmla="*/ 0 h 1066799"/>
                <a:gd name="connsiteX4" fmla="*/ 923925 w 1627932"/>
                <a:gd name="connsiteY4" fmla="*/ 426244 h 1066799"/>
                <a:gd name="connsiteX5" fmla="*/ 621506 w 1627932"/>
                <a:gd name="connsiteY5" fmla="*/ 771524 h 1066799"/>
                <a:gd name="connsiteX6" fmla="*/ 0 w 1627932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134969"/>
                <a:gd name="connsiteX1" fmla="*/ 0 w 1627647"/>
                <a:gd name="connsiteY1" fmla="*/ 1066799 h 1134969"/>
                <a:gd name="connsiteX2" fmla="*/ 1621631 w 1627647"/>
                <a:gd name="connsiteY2" fmla="*/ 523874 h 1134969"/>
                <a:gd name="connsiteX3" fmla="*/ 1323974 w 1627647"/>
                <a:gd name="connsiteY3" fmla="*/ 0 h 1134969"/>
                <a:gd name="connsiteX4" fmla="*/ 923925 w 1627647"/>
                <a:gd name="connsiteY4" fmla="*/ 426244 h 1134969"/>
                <a:gd name="connsiteX5" fmla="*/ 621506 w 1627647"/>
                <a:gd name="connsiteY5" fmla="*/ 771524 h 1134969"/>
                <a:gd name="connsiteX6" fmla="*/ 0 w 1627647"/>
                <a:gd name="connsiteY6" fmla="*/ 538161 h 1134969"/>
                <a:gd name="connsiteX0" fmla="*/ 0 w 1627647"/>
                <a:gd name="connsiteY0" fmla="*/ 538161 h 1213483"/>
                <a:gd name="connsiteX1" fmla="*/ 0 w 1627647"/>
                <a:gd name="connsiteY1" fmla="*/ 1066799 h 1213483"/>
                <a:gd name="connsiteX2" fmla="*/ 1621631 w 1627647"/>
                <a:gd name="connsiteY2" fmla="*/ 523874 h 1213483"/>
                <a:gd name="connsiteX3" fmla="*/ 1323974 w 1627647"/>
                <a:gd name="connsiteY3" fmla="*/ 0 h 1213483"/>
                <a:gd name="connsiteX4" fmla="*/ 923925 w 1627647"/>
                <a:gd name="connsiteY4" fmla="*/ 426244 h 1213483"/>
                <a:gd name="connsiteX5" fmla="*/ 621506 w 1627647"/>
                <a:gd name="connsiteY5" fmla="*/ 771524 h 1213483"/>
                <a:gd name="connsiteX6" fmla="*/ 0 w 1627647"/>
                <a:gd name="connsiteY6" fmla="*/ 538161 h 1213483"/>
                <a:gd name="connsiteX0" fmla="*/ 0 w 1627647"/>
                <a:gd name="connsiteY0" fmla="*/ 538161 h 1190326"/>
                <a:gd name="connsiteX1" fmla="*/ 0 w 1627647"/>
                <a:gd name="connsiteY1" fmla="*/ 1066799 h 1190326"/>
                <a:gd name="connsiteX2" fmla="*/ 1621631 w 1627647"/>
                <a:gd name="connsiteY2" fmla="*/ 523874 h 1190326"/>
                <a:gd name="connsiteX3" fmla="*/ 1323974 w 1627647"/>
                <a:gd name="connsiteY3" fmla="*/ 0 h 1190326"/>
                <a:gd name="connsiteX4" fmla="*/ 923925 w 1627647"/>
                <a:gd name="connsiteY4" fmla="*/ 426244 h 1190326"/>
                <a:gd name="connsiteX5" fmla="*/ 621506 w 1627647"/>
                <a:gd name="connsiteY5" fmla="*/ 771524 h 1190326"/>
                <a:gd name="connsiteX6" fmla="*/ 0 w 1627647"/>
                <a:gd name="connsiteY6" fmla="*/ 538161 h 1190326"/>
                <a:gd name="connsiteX0" fmla="*/ 0 w 1627647"/>
                <a:gd name="connsiteY0" fmla="*/ 538161 h 1219698"/>
                <a:gd name="connsiteX1" fmla="*/ 0 w 1627647"/>
                <a:gd name="connsiteY1" fmla="*/ 1066799 h 1219698"/>
                <a:gd name="connsiteX2" fmla="*/ 1621631 w 1627647"/>
                <a:gd name="connsiteY2" fmla="*/ 523874 h 1219698"/>
                <a:gd name="connsiteX3" fmla="*/ 1323974 w 1627647"/>
                <a:gd name="connsiteY3" fmla="*/ 0 h 1219698"/>
                <a:gd name="connsiteX4" fmla="*/ 923925 w 1627647"/>
                <a:gd name="connsiteY4" fmla="*/ 426244 h 1219698"/>
                <a:gd name="connsiteX5" fmla="*/ 621506 w 1627647"/>
                <a:gd name="connsiteY5" fmla="*/ 771524 h 1219698"/>
                <a:gd name="connsiteX6" fmla="*/ 0 w 1627647"/>
                <a:gd name="connsiteY6" fmla="*/ 538161 h 1219698"/>
                <a:gd name="connsiteX0" fmla="*/ 0 w 1627647"/>
                <a:gd name="connsiteY0" fmla="*/ 538161 h 1232307"/>
                <a:gd name="connsiteX1" fmla="*/ 0 w 1627647"/>
                <a:gd name="connsiteY1" fmla="*/ 1066799 h 1232307"/>
                <a:gd name="connsiteX2" fmla="*/ 1621631 w 1627647"/>
                <a:gd name="connsiteY2" fmla="*/ 523874 h 1232307"/>
                <a:gd name="connsiteX3" fmla="*/ 1323974 w 1627647"/>
                <a:gd name="connsiteY3" fmla="*/ 0 h 1232307"/>
                <a:gd name="connsiteX4" fmla="*/ 923925 w 1627647"/>
                <a:gd name="connsiteY4" fmla="*/ 426244 h 1232307"/>
                <a:gd name="connsiteX5" fmla="*/ 621506 w 1627647"/>
                <a:gd name="connsiteY5" fmla="*/ 771524 h 1232307"/>
                <a:gd name="connsiteX6" fmla="*/ 0 w 1627647"/>
                <a:gd name="connsiteY6" fmla="*/ 538161 h 1232307"/>
                <a:gd name="connsiteX0" fmla="*/ 0 w 1627647"/>
                <a:gd name="connsiteY0" fmla="*/ 538161 h 1217230"/>
                <a:gd name="connsiteX1" fmla="*/ 0 w 1627647"/>
                <a:gd name="connsiteY1" fmla="*/ 1066799 h 1217230"/>
                <a:gd name="connsiteX2" fmla="*/ 1621631 w 1627647"/>
                <a:gd name="connsiteY2" fmla="*/ 523874 h 1217230"/>
                <a:gd name="connsiteX3" fmla="*/ 1323974 w 1627647"/>
                <a:gd name="connsiteY3" fmla="*/ 0 h 1217230"/>
                <a:gd name="connsiteX4" fmla="*/ 923925 w 1627647"/>
                <a:gd name="connsiteY4" fmla="*/ 426244 h 1217230"/>
                <a:gd name="connsiteX5" fmla="*/ 621506 w 1627647"/>
                <a:gd name="connsiteY5" fmla="*/ 771524 h 1217230"/>
                <a:gd name="connsiteX6" fmla="*/ 0 w 1627647"/>
                <a:gd name="connsiteY6" fmla="*/ 538161 h 1217230"/>
                <a:gd name="connsiteX0" fmla="*/ 0 w 1627647"/>
                <a:gd name="connsiteY0" fmla="*/ 538161 h 1188997"/>
                <a:gd name="connsiteX1" fmla="*/ 0 w 1627647"/>
                <a:gd name="connsiteY1" fmla="*/ 1066799 h 1188997"/>
                <a:gd name="connsiteX2" fmla="*/ 1621631 w 1627647"/>
                <a:gd name="connsiteY2" fmla="*/ 523874 h 1188997"/>
                <a:gd name="connsiteX3" fmla="*/ 1323974 w 1627647"/>
                <a:gd name="connsiteY3" fmla="*/ 0 h 1188997"/>
                <a:gd name="connsiteX4" fmla="*/ 923925 w 1627647"/>
                <a:gd name="connsiteY4" fmla="*/ 426244 h 1188997"/>
                <a:gd name="connsiteX5" fmla="*/ 621506 w 1627647"/>
                <a:gd name="connsiteY5" fmla="*/ 771524 h 1188997"/>
                <a:gd name="connsiteX6" fmla="*/ 0 w 1627647"/>
                <a:gd name="connsiteY6" fmla="*/ 538161 h 1188997"/>
                <a:gd name="connsiteX0" fmla="*/ 0 w 1627647"/>
                <a:gd name="connsiteY0" fmla="*/ 538161 h 1216261"/>
                <a:gd name="connsiteX1" fmla="*/ 0 w 1627647"/>
                <a:gd name="connsiteY1" fmla="*/ 1066799 h 1216261"/>
                <a:gd name="connsiteX2" fmla="*/ 1621631 w 1627647"/>
                <a:gd name="connsiteY2" fmla="*/ 523874 h 1216261"/>
                <a:gd name="connsiteX3" fmla="*/ 1323974 w 1627647"/>
                <a:gd name="connsiteY3" fmla="*/ 0 h 1216261"/>
                <a:gd name="connsiteX4" fmla="*/ 923925 w 1627647"/>
                <a:gd name="connsiteY4" fmla="*/ 426244 h 1216261"/>
                <a:gd name="connsiteX5" fmla="*/ 621506 w 1627647"/>
                <a:gd name="connsiteY5" fmla="*/ 771524 h 1216261"/>
                <a:gd name="connsiteX6" fmla="*/ 0 w 1627647"/>
                <a:gd name="connsiteY6" fmla="*/ 538161 h 1216261"/>
                <a:gd name="connsiteX0" fmla="*/ 0 w 1627647"/>
                <a:gd name="connsiteY0" fmla="*/ 538161 h 1206398"/>
                <a:gd name="connsiteX1" fmla="*/ 0 w 1627647"/>
                <a:gd name="connsiteY1" fmla="*/ 1066799 h 1206398"/>
                <a:gd name="connsiteX2" fmla="*/ 1621631 w 1627647"/>
                <a:gd name="connsiteY2" fmla="*/ 523874 h 1206398"/>
                <a:gd name="connsiteX3" fmla="*/ 1323974 w 1627647"/>
                <a:gd name="connsiteY3" fmla="*/ 0 h 1206398"/>
                <a:gd name="connsiteX4" fmla="*/ 923925 w 1627647"/>
                <a:gd name="connsiteY4" fmla="*/ 426244 h 1206398"/>
                <a:gd name="connsiteX5" fmla="*/ 621506 w 1627647"/>
                <a:gd name="connsiteY5" fmla="*/ 771524 h 1206398"/>
                <a:gd name="connsiteX6" fmla="*/ 0 w 1627647"/>
                <a:gd name="connsiteY6" fmla="*/ 538161 h 1206398"/>
                <a:gd name="connsiteX0" fmla="*/ 0 w 1627647"/>
                <a:gd name="connsiteY0" fmla="*/ 538161 h 1218880"/>
                <a:gd name="connsiteX1" fmla="*/ 0 w 1627647"/>
                <a:gd name="connsiteY1" fmla="*/ 1066799 h 1218880"/>
                <a:gd name="connsiteX2" fmla="*/ 1621631 w 1627647"/>
                <a:gd name="connsiteY2" fmla="*/ 523874 h 1218880"/>
                <a:gd name="connsiteX3" fmla="*/ 1323974 w 1627647"/>
                <a:gd name="connsiteY3" fmla="*/ 0 h 1218880"/>
                <a:gd name="connsiteX4" fmla="*/ 923925 w 1627647"/>
                <a:gd name="connsiteY4" fmla="*/ 426244 h 1218880"/>
                <a:gd name="connsiteX5" fmla="*/ 621506 w 1627647"/>
                <a:gd name="connsiteY5" fmla="*/ 771524 h 1218880"/>
                <a:gd name="connsiteX6" fmla="*/ 0 w 1627647"/>
                <a:gd name="connsiteY6" fmla="*/ 538161 h 1218880"/>
                <a:gd name="connsiteX0" fmla="*/ 0 w 1627647"/>
                <a:gd name="connsiteY0" fmla="*/ 538161 h 1211596"/>
                <a:gd name="connsiteX1" fmla="*/ 0 w 1627647"/>
                <a:gd name="connsiteY1" fmla="*/ 1066799 h 1211596"/>
                <a:gd name="connsiteX2" fmla="*/ 1621631 w 1627647"/>
                <a:gd name="connsiteY2" fmla="*/ 523874 h 1211596"/>
                <a:gd name="connsiteX3" fmla="*/ 1323974 w 1627647"/>
                <a:gd name="connsiteY3" fmla="*/ 0 h 1211596"/>
                <a:gd name="connsiteX4" fmla="*/ 923925 w 1627647"/>
                <a:gd name="connsiteY4" fmla="*/ 426244 h 1211596"/>
                <a:gd name="connsiteX5" fmla="*/ 621506 w 1627647"/>
                <a:gd name="connsiteY5" fmla="*/ 771524 h 1211596"/>
                <a:gd name="connsiteX6" fmla="*/ 0 w 1627647"/>
                <a:gd name="connsiteY6" fmla="*/ 538161 h 1211596"/>
                <a:gd name="connsiteX0" fmla="*/ 0 w 1627647"/>
                <a:gd name="connsiteY0" fmla="*/ 538161 h 1217962"/>
                <a:gd name="connsiteX1" fmla="*/ 0 w 1627647"/>
                <a:gd name="connsiteY1" fmla="*/ 1066799 h 1217962"/>
                <a:gd name="connsiteX2" fmla="*/ 1621631 w 1627647"/>
                <a:gd name="connsiteY2" fmla="*/ 523874 h 1217962"/>
                <a:gd name="connsiteX3" fmla="*/ 1323974 w 1627647"/>
                <a:gd name="connsiteY3" fmla="*/ 0 h 1217962"/>
                <a:gd name="connsiteX4" fmla="*/ 923925 w 1627647"/>
                <a:gd name="connsiteY4" fmla="*/ 426244 h 1217962"/>
                <a:gd name="connsiteX5" fmla="*/ 621506 w 1627647"/>
                <a:gd name="connsiteY5" fmla="*/ 771524 h 1217962"/>
                <a:gd name="connsiteX6" fmla="*/ 0 w 1627647"/>
                <a:gd name="connsiteY6" fmla="*/ 538161 h 1217962"/>
                <a:gd name="connsiteX0" fmla="*/ 0 w 1627647"/>
                <a:gd name="connsiteY0" fmla="*/ 538161 h 1218399"/>
                <a:gd name="connsiteX1" fmla="*/ 0 w 1627647"/>
                <a:gd name="connsiteY1" fmla="*/ 1066799 h 1218399"/>
                <a:gd name="connsiteX2" fmla="*/ 1621631 w 1627647"/>
                <a:gd name="connsiteY2" fmla="*/ 523874 h 1218399"/>
                <a:gd name="connsiteX3" fmla="*/ 1323974 w 1627647"/>
                <a:gd name="connsiteY3" fmla="*/ 0 h 1218399"/>
                <a:gd name="connsiteX4" fmla="*/ 923925 w 1627647"/>
                <a:gd name="connsiteY4" fmla="*/ 426244 h 1218399"/>
                <a:gd name="connsiteX5" fmla="*/ 621506 w 1627647"/>
                <a:gd name="connsiteY5" fmla="*/ 771524 h 1218399"/>
                <a:gd name="connsiteX6" fmla="*/ 0 w 1627647"/>
                <a:gd name="connsiteY6" fmla="*/ 538161 h 121839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23925 w 1627647"/>
                <a:gd name="connsiteY4" fmla="*/ 426244 h 1212839"/>
                <a:gd name="connsiteX5" fmla="*/ 621506 w 1627647"/>
                <a:gd name="connsiteY5" fmla="*/ 771524 h 1212839"/>
                <a:gd name="connsiteX6" fmla="*/ 0 w 1627647"/>
                <a:gd name="connsiteY6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1078707 w 1627647"/>
                <a:gd name="connsiteY4" fmla="*/ 257177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595313 w 1627647"/>
                <a:gd name="connsiteY4" fmla="*/ 185739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73932 w 1627647"/>
                <a:gd name="connsiteY4" fmla="*/ 85727 h 1212839"/>
                <a:gd name="connsiteX5" fmla="*/ 595313 w 1627647"/>
                <a:gd name="connsiteY5" fmla="*/ 185739 h 1212839"/>
                <a:gd name="connsiteX6" fmla="*/ 923925 w 1627647"/>
                <a:gd name="connsiteY6" fmla="*/ 426244 h 1212839"/>
                <a:gd name="connsiteX7" fmla="*/ 621506 w 1627647"/>
                <a:gd name="connsiteY7" fmla="*/ 771524 h 1212839"/>
                <a:gd name="connsiteX8" fmla="*/ 0 w 1627647"/>
                <a:gd name="connsiteY8" fmla="*/ 538161 h 1212839"/>
                <a:gd name="connsiteX0" fmla="*/ 0 w 1627647"/>
                <a:gd name="connsiteY0" fmla="*/ 745328 h 1420006"/>
                <a:gd name="connsiteX1" fmla="*/ 0 w 1627647"/>
                <a:gd name="connsiteY1" fmla="*/ 1273966 h 1420006"/>
                <a:gd name="connsiteX2" fmla="*/ 1621631 w 1627647"/>
                <a:gd name="connsiteY2" fmla="*/ 731041 h 1420006"/>
                <a:gd name="connsiteX3" fmla="*/ 1323974 w 1627647"/>
                <a:gd name="connsiteY3" fmla="*/ 207167 h 1420006"/>
                <a:gd name="connsiteX4" fmla="*/ 835820 w 1627647"/>
                <a:gd name="connsiteY4" fmla="*/ 0 h 1420006"/>
                <a:gd name="connsiteX5" fmla="*/ 595313 w 1627647"/>
                <a:gd name="connsiteY5" fmla="*/ 392906 h 1420006"/>
                <a:gd name="connsiteX6" fmla="*/ 923925 w 1627647"/>
                <a:gd name="connsiteY6" fmla="*/ 633411 h 1420006"/>
                <a:gd name="connsiteX7" fmla="*/ 621506 w 1627647"/>
                <a:gd name="connsiteY7" fmla="*/ 978691 h 1420006"/>
                <a:gd name="connsiteX8" fmla="*/ 0 w 1627647"/>
                <a:gd name="connsiteY8" fmla="*/ 745328 h 1420006"/>
                <a:gd name="connsiteX0" fmla="*/ 0 w 1591281"/>
                <a:gd name="connsiteY0" fmla="*/ 745328 h 1469663"/>
                <a:gd name="connsiteX1" fmla="*/ 0 w 1591281"/>
                <a:gd name="connsiteY1" fmla="*/ 1273966 h 1469663"/>
                <a:gd name="connsiteX2" fmla="*/ 1574006 w 1591281"/>
                <a:gd name="connsiteY2" fmla="*/ 928685 h 1469663"/>
                <a:gd name="connsiteX3" fmla="*/ 1323974 w 1591281"/>
                <a:gd name="connsiteY3" fmla="*/ 207167 h 1469663"/>
                <a:gd name="connsiteX4" fmla="*/ 835820 w 1591281"/>
                <a:gd name="connsiteY4" fmla="*/ 0 h 1469663"/>
                <a:gd name="connsiteX5" fmla="*/ 595313 w 1591281"/>
                <a:gd name="connsiteY5" fmla="*/ 392906 h 1469663"/>
                <a:gd name="connsiteX6" fmla="*/ 923925 w 1591281"/>
                <a:gd name="connsiteY6" fmla="*/ 633411 h 1469663"/>
                <a:gd name="connsiteX7" fmla="*/ 621506 w 1591281"/>
                <a:gd name="connsiteY7" fmla="*/ 978691 h 1469663"/>
                <a:gd name="connsiteX8" fmla="*/ 0 w 1591281"/>
                <a:gd name="connsiteY8" fmla="*/ 745328 h 1469663"/>
                <a:gd name="connsiteX0" fmla="*/ 0 w 1591281"/>
                <a:gd name="connsiteY0" fmla="*/ 745328 h 1425021"/>
                <a:gd name="connsiteX1" fmla="*/ 0 w 1591281"/>
                <a:gd name="connsiteY1" fmla="*/ 1273966 h 1425021"/>
                <a:gd name="connsiteX2" fmla="*/ 1574006 w 1591281"/>
                <a:gd name="connsiteY2" fmla="*/ 928685 h 1425021"/>
                <a:gd name="connsiteX3" fmla="*/ 1323974 w 1591281"/>
                <a:gd name="connsiteY3" fmla="*/ 207167 h 1425021"/>
                <a:gd name="connsiteX4" fmla="*/ 835820 w 1591281"/>
                <a:gd name="connsiteY4" fmla="*/ 0 h 1425021"/>
                <a:gd name="connsiteX5" fmla="*/ 595313 w 1591281"/>
                <a:gd name="connsiteY5" fmla="*/ 392906 h 1425021"/>
                <a:gd name="connsiteX6" fmla="*/ 923925 w 1591281"/>
                <a:gd name="connsiteY6" fmla="*/ 633411 h 1425021"/>
                <a:gd name="connsiteX7" fmla="*/ 621506 w 1591281"/>
                <a:gd name="connsiteY7" fmla="*/ 978691 h 1425021"/>
                <a:gd name="connsiteX8" fmla="*/ 0 w 1591281"/>
                <a:gd name="connsiteY8" fmla="*/ 745328 h 1425021"/>
                <a:gd name="connsiteX0" fmla="*/ 0 w 1622856"/>
                <a:gd name="connsiteY0" fmla="*/ 745328 h 1425021"/>
                <a:gd name="connsiteX1" fmla="*/ 0 w 1622856"/>
                <a:gd name="connsiteY1" fmla="*/ 1273966 h 1425021"/>
                <a:gd name="connsiteX2" fmla="*/ 1574006 w 1622856"/>
                <a:gd name="connsiteY2" fmla="*/ 928685 h 1425021"/>
                <a:gd name="connsiteX3" fmla="*/ 1323974 w 1622856"/>
                <a:gd name="connsiteY3" fmla="*/ 207167 h 1425021"/>
                <a:gd name="connsiteX4" fmla="*/ 835820 w 1622856"/>
                <a:gd name="connsiteY4" fmla="*/ 0 h 1425021"/>
                <a:gd name="connsiteX5" fmla="*/ 595313 w 1622856"/>
                <a:gd name="connsiteY5" fmla="*/ 392906 h 1425021"/>
                <a:gd name="connsiteX6" fmla="*/ 923925 w 1622856"/>
                <a:gd name="connsiteY6" fmla="*/ 633411 h 1425021"/>
                <a:gd name="connsiteX7" fmla="*/ 621506 w 1622856"/>
                <a:gd name="connsiteY7" fmla="*/ 978691 h 1425021"/>
                <a:gd name="connsiteX8" fmla="*/ 0 w 1622856"/>
                <a:gd name="connsiteY8" fmla="*/ 745328 h 1425021"/>
                <a:gd name="connsiteX0" fmla="*/ 0 w 1608710"/>
                <a:gd name="connsiteY0" fmla="*/ 745328 h 1425021"/>
                <a:gd name="connsiteX1" fmla="*/ 0 w 1608710"/>
                <a:gd name="connsiteY1" fmla="*/ 1273966 h 1425021"/>
                <a:gd name="connsiteX2" fmla="*/ 1574006 w 1608710"/>
                <a:gd name="connsiteY2" fmla="*/ 928685 h 1425021"/>
                <a:gd name="connsiteX3" fmla="*/ 1264443 w 1608710"/>
                <a:gd name="connsiteY3" fmla="*/ 166686 h 1425021"/>
                <a:gd name="connsiteX4" fmla="*/ 835820 w 1608710"/>
                <a:gd name="connsiteY4" fmla="*/ 0 h 1425021"/>
                <a:gd name="connsiteX5" fmla="*/ 595313 w 1608710"/>
                <a:gd name="connsiteY5" fmla="*/ 392906 h 1425021"/>
                <a:gd name="connsiteX6" fmla="*/ 923925 w 1608710"/>
                <a:gd name="connsiteY6" fmla="*/ 633411 h 1425021"/>
                <a:gd name="connsiteX7" fmla="*/ 621506 w 1608710"/>
                <a:gd name="connsiteY7" fmla="*/ 978691 h 1425021"/>
                <a:gd name="connsiteX8" fmla="*/ 0 w 1608710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709613 w 1623138"/>
                <a:gd name="connsiteY5" fmla="*/ 207169 h 1425021"/>
                <a:gd name="connsiteX6" fmla="*/ 595313 w 1623138"/>
                <a:gd name="connsiteY6" fmla="*/ 392906 h 1425021"/>
                <a:gd name="connsiteX7" fmla="*/ 923925 w 1623138"/>
                <a:gd name="connsiteY7" fmla="*/ 633411 h 1425021"/>
                <a:gd name="connsiteX8" fmla="*/ 621506 w 1623138"/>
                <a:gd name="connsiteY8" fmla="*/ 978691 h 1425021"/>
                <a:gd name="connsiteX9" fmla="*/ 0 w 1623138"/>
                <a:gd name="connsiteY9" fmla="*/ 745328 h 1425021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421482 w 1623138"/>
                <a:gd name="connsiteY5" fmla="*/ 0 h 1477409"/>
                <a:gd name="connsiteX6" fmla="*/ 595313 w 1623138"/>
                <a:gd name="connsiteY6" fmla="*/ 445294 h 1477409"/>
                <a:gd name="connsiteX7" fmla="*/ 923925 w 1623138"/>
                <a:gd name="connsiteY7" fmla="*/ 685799 h 1477409"/>
                <a:gd name="connsiteX8" fmla="*/ 621506 w 1623138"/>
                <a:gd name="connsiteY8" fmla="*/ 1031079 h 1477409"/>
                <a:gd name="connsiteX9" fmla="*/ 0 w 1623138"/>
                <a:gd name="connsiteY9" fmla="*/ 797716 h 1477409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654844 w 1623138"/>
                <a:gd name="connsiteY5" fmla="*/ 26194 h 1477409"/>
                <a:gd name="connsiteX6" fmla="*/ 421482 w 1623138"/>
                <a:gd name="connsiteY6" fmla="*/ 0 h 1477409"/>
                <a:gd name="connsiteX7" fmla="*/ 595313 w 1623138"/>
                <a:gd name="connsiteY7" fmla="*/ 445294 h 1477409"/>
                <a:gd name="connsiteX8" fmla="*/ 923925 w 1623138"/>
                <a:gd name="connsiteY8" fmla="*/ 685799 h 1477409"/>
                <a:gd name="connsiteX9" fmla="*/ 621506 w 1623138"/>
                <a:gd name="connsiteY9" fmla="*/ 1031079 h 1477409"/>
                <a:gd name="connsiteX10" fmla="*/ 0 w 1623138"/>
                <a:gd name="connsiteY10" fmla="*/ 797716 h 1477409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652572"/>
                <a:gd name="connsiteX1" fmla="*/ 0 w 1623138"/>
                <a:gd name="connsiteY1" fmla="*/ 1647822 h 1652572"/>
                <a:gd name="connsiteX2" fmla="*/ 1574006 w 1623138"/>
                <a:gd name="connsiteY2" fmla="*/ 1302541 h 1652572"/>
                <a:gd name="connsiteX3" fmla="*/ 1264443 w 1623138"/>
                <a:gd name="connsiteY3" fmla="*/ 540542 h 1652572"/>
                <a:gd name="connsiteX4" fmla="*/ 835820 w 1623138"/>
                <a:gd name="connsiteY4" fmla="*/ 373856 h 1652572"/>
                <a:gd name="connsiteX5" fmla="*/ 807244 w 1623138"/>
                <a:gd name="connsiteY5" fmla="*/ 0 h 1652572"/>
                <a:gd name="connsiteX6" fmla="*/ 421482 w 1623138"/>
                <a:gd name="connsiteY6" fmla="*/ 321468 h 1652572"/>
                <a:gd name="connsiteX7" fmla="*/ 595313 w 1623138"/>
                <a:gd name="connsiteY7" fmla="*/ 766762 h 1652572"/>
                <a:gd name="connsiteX8" fmla="*/ 923925 w 1623138"/>
                <a:gd name="connsiteY8" fmla="*/ 1007267 h 1652572"/>
                <a:gd name="connsiteX9" fmla="*/ 621506 w 1623138"/>
                <a:gd name="connsiteY9" fmla="*/ 1352547 h 1652572"/>
                <a:gd name="connsiteX10" fmla="*/ 0 w 1623138"/>
                <a:gd name="connsiteY10" fmla="*/ 1119184 h 1652572"/>
                <a:gd name="connsiteX0" fmla="*/ 0 w 1627271"/>
                <a:gd name="connsiteY0" fmla="*/ 1119184 h 1712926"/>
                <a:gd name="connsiteX1" fmla="*/ 0 w 1627271"/>
                <a:gd name="connsiteY1" fmla="*/ 1647822 h 1712926"/>
                <a:gd name="connsiteX2" fmla="*/ 1574006 w 1627271"/>
                <a:gd name="connsiteY2" fmla="*/ 1302541 h 1712926"/>
                <a:gd name="connsiteX3" fmla="*/ 1264443 w 1627271"/>
                <a:gd name="connsiteY3" fmla="*/ 540542 h 1712926"/>
                <a:gd name="connsiteX4" fmla="*/ 835820 w 1627271"/>
                <a:gd name="connsiteY4" fmla="*/ 373856 h 1712926"/>
                <a:gd name="connsiteX5" fmla="*/ 807244 w 1627271"/>
                <a:gd name="connsiteY5" fmla="*/ 0 h 1712926"/>
                <a:gd name="connsiteX6" fmla="*/ 421482 w 1627271"/>
                <a:gd name="connsiteY6" fmla="*/ 321468 h 1712926"/>
                <a:gd name="connsiteX7" fmla="*/ 595313 w 1627271"/>
                <a:gd name="connsiteY7" fmla="*/ 766762 h 1712926"/>
                <a:gd name="connsiteX8" fmla="*/ 923925 w 1627271"/>
                <a:gd name="connsiteY8" fmla="*/ 1007267 h 1712926"/>
                <a:gd name="connsiteX9" fmla="*/ 621506 w 1627271"/>
                <a:gd name="connsiteY9" fmla="*/ 1352547 h 1712926"/>
                <a:gd name="connsiteX10" fmla="*/ 0 w 1627271"/>
                <a:gd name="connsiteY10" fmla="*/ 1119184 h 1712926"/>
                <a:gd name="connsiteX0" fmla="*/ 0 w 1627271"/>
                <a:gd name="connsiteY0" fmla="*/ 1119184 h 1797816"/>
                <a:gd name="connsiteX1" fmla="*/ 0 w 1627271"/>
                <a:gd name="connsiteY1" fmla="*/ 1647822 h 1797816"/>
                <a:gd name="connsiteX2" fmla="*/ 1574006 w 1627271"/>
                <a:gd name="connsiteY2" fmla="*/ 1302541 h 1797816"/>
                <a:gd name="connsiteX3" fmla="*/ 1264443 w 1627271"/>
                <a:gd name="connsiteY3" fmla="*/ 540542 h 1797816"/>
                <a:gd name="connsiteX4" fmla="*/ 835820 w 1627271"/>
                <a:gd name="connsiteY4" fmla="*/ 373856 h 1797816"/>
                <a:gd name="connsiteX5" fmla="*/ 807244 w 1627271"/>
                <a:gd name="connsiteY5" fmla="*/ 0 h 1797816"/>
                <a:gd name="connsiteX6" fmla="*/ 421482 w 1627271"/>
                <a:gd name="connsiteY6" fmla="*/ 321468 h 1797816"/>
                <a:gd name="connsiteX7" fmla="*/ 595313 w 1627271"/>
                <a:gd name="connsiteY7" fmla="*/ 766762 h 1797816"/>
                <a:gd name="connsiteX8" fmla="*/ 923925 w 1627271"/>
                <a:gd name="connsiteY8" fmla="*/ 1007267 h 1797816"/>
                <a:gd name="connsiteX9" fmla="*/ 621506 w 1627271"/>
                <a:gd name="connsiteY9" fmla="*/ 1352547 h 1797816"/>
                <a:gd name="connsiteX10" fmla="*/ 0 w 1627271"/>
                <a:gd name="connsiteY10" fmla="*/ 1119184 h 1797816"/>
                <a:gd name="connsiteX0" fmla="*/ 0 w 1622231"/>
                <a:gd name="connsiteY0" fmla="*/ 1119184 h 1773253"/>
                <a:gd name="connsiteX1" fmla="*/ 0 w 1622231"/>
                <a:gd name="connsiteY1" fmla="*/ 1647822 h 1773253"/>
                <a:gd name="connsiteX2" fmla="*/ 1574006 w 1622231"/>
                <a:gd name="connsiteY2" fmla="*/ 1302541 h 1773253"/>
                <a:gd name="connsiteX3" fmla="*/ 1264443 w 1622231"/>
                <a:gd name="connsiteY3" fmla="*/ 540542 h 1773253"/>
                <a:gd name="connsiteX4" fmla="*/ 835820 w 1622231"/>
                <a:gd name="connsiteY4" fmla="*/ 373856 h 1773253"/>
                <a:gd name="connsiteX5" fmla="*/ 807244 w 1622231"/>
                <a:gd name="connsiteY5" fmla="*/ 0 h 1773253"/>
                <a:gd name="connsiteX6" fmla="*/ 421482 w 1622231"/>
                <a:gd name="connsiteY6" fmla="*/ 321468 h 1773253"/>
                <a:gd name="connsiteX7" fmla="*/ 595313 w 1622231"/>
                <a:gd name="connsiteY7" fmla="*/ 766762 h 1773253"/>
                <a:gd name="connsiteX8" fmla="*/ 923925 w 1622231"/>
                <a:gd name="connsiteY8" fmla="*/ 1007267 h 1773253"/>
                <a:gd name="connsiteX9" fmla="*/ 621506 w 1622231"/>
                <a:gd name="connsiteY9" fmla="*/ 1352547 h 1773253"/>
                <a:gd name="connsiteX10" fmla="*/ 0 w 1622231"/>
                <a:gd name="connsiteY10" fmla="*/ 1119184 h 1773253"/>
                <a:gd name="connsiteX0" fmla="*/ 0 w 1622231"/>
                <a:gd name="connsiteY0" fmla="*/ 1119184 h 1800701"/>
                <a:gd name="connsiteX1" fmla="*/ 0 w 1622231"/>
                <a:gd name="connsiteY1" fmla="*/ 1647822 h 1800701"/>
                <a:gd name="connsiteX2" fmla="*/ 1574006 w 1622231"/>
                <a:gd name="connsiteY2" fmla="*/ 1302541 h 1800701"/>
                <a:gd name="connsiteX3" fmla="*/ 1264443 w 1622231"/>
                <a:gd name="connsiteY3" fmla="*/ 540542 h 1800701"/>
                <a:gd name="connsiteX4" fmla="*/ 835820 w 1622231"/>
                <a:gd name="connsiteY4" fmla="*/ 373856 h 1800701"/>
                <a:gd name="connsiteX5" fmla="*/ 807244 w 1622231"/>
                <a:gd name="connsiteY5" fmla="*/ 0 h 1800701"/>
                <a:gd name="connsiteX6" fmla="*/ 421482 w 1622231"/>
                <a:gd name="connsiteY6" fmla="*/ 321468 h 1800701"/>
                <a:gd name="connsiteX7" fmla="*/ 595313 w 1622231"/>
                <a:gd name="connsiteY7" fmla="*/ 766762 h 1800701"/>
                <a:gd name="connsiteX8" fmla="*/ 923925 w 1622231"/>
                <a:gd name="connsiteY8" fmla="*/ 1007267 h 1800701"/>
                <a:gd name="connsiteX9" fmla="*/ 621506 w 1622231"/>
                <a:gd name="connsiteY9" fmla="*/ 1352547 h 1800701"/>
                <a:gd name="connsiteX10" fmla="*/ 0 w 1622231"/>
                <a:gd name="connsiteY10" fmla="*/ 1119184 h 1800701"/>
                <a:gd name="connsiteX0" fmla="*/ 0 w 1552023"/>
                <a:gd name="connsiteY0" fmla="*/ 1119184 h 1859749"/>
                <a:gd name="connsiteX1" fmla="*/ 0 w 1552023"/>
                <a:gd name="connsiteY1" fmla="*/ 1647822 h 1859749"/>
                <a:gd name="connsiteX2" fmla="*/ 1462087 w 1552023"/>
                <a:gd name="connsiteY2" fmla="*/ 1469229 h 1859749"/>
                <a:gd name="connsiteX3" fmla="*/ 1264443 w 1552023"/>
                <a:gd name="connsiteY3" fmla="*/ 540542 h 1859749"/>
                <a:gd name="connsiteX4" fmla="*/ 835820 w 1552023"/>
                <a:gd name="connsiteY4" fmla="*/ 373856 h 1859749"/>
                <a:gd name="connsiteX5" fmla="*/ 807244 w 1552023"/>
                <a:gd name="connsiteY5" fmla="*/ 0 h 1859749"/>
                <a:gd name="connsiteX6" fmla="*/ 421482 w 1552023"/>
                <a:gd name="connsiteY6" fmla="*/ 321468 h 1859749"/>
                <a:gd name="connsiteX7" fmla="*/ 595313 w 1552023"/>
                <a:gd name="connsiteY7" fmla="*/ 766762 h 1859749"/>
                <a:gd name="connsiteX8" fmla="*/ 923925 w 1552023"/>
                <a:gd name="connsiteY8" fmla="*/ 1007267 h 1859749"/>
                <a:gd name="connsiteX9" fmla="*/ 621506 w 1552023"/>
                <a:gd name="connsiteY9" fmla="*/ 1352547 h 1859749"/>
                <a:gd name="connsiteX10" fmla="*/ 0 w 1552023"/>
                <a:gd name="connsiteY10" fmla="*/ 1119184 h 1859749"/>
                <a:gd name="connsiteX0" fmla="*/ 0 w 1571973"/>
                <a:gd name="connsiteY0" fmla="*/ 1119184 h 1800114"/>
                <a:gd name="connsiteX1" fmla="*/ 0 w 1571973"/>
                <a:gd name="connsiteY1" fmla="*/ 1647822 h 1800114"/>
                <a:gd name="connsiteX2" fmla="*/ 1462087 w 1571973"/>
                <a:gd name="connsiteY2" fmla="*/ 1469229 h 1800114"/>
                <a:gd name="connsiteX3" fmla="*/ 1264443 w 1571973"/>
                <a:gd name="connsiteY3" fmla="*/ 540542 h 1800114"/>
                <a:gd name="connsiteX4" fmla="*/ 835820 w 1571973"/>
                <a:gd name="connsiteY4" fmla="*/ 373856 h 1800114"/>
                <a:gd name="connsiteX5" fmla="*/ 807244 w 1571973"/>
                <a:gd name="connsiteY5" fmla="*/ 0 h 1800114"/>
                <a:gd name="connsiteX6" fmla="*/ 421482 w 1571973"/>
                <a:gd name="connsiteY6" fmla="*/ 321468 h 1800114"/>
                <a:gd name="connsiteX7" fmla="*/ 595313 w 1571973"/>
                <a:gd name="connsiteY7" fmla="*/ 766762 h 1800114"/>
                <a:gd name="connsiteX8" fmla="*/ 923925 w 1571973"/>
                <a:gd name="connsiteY8" fmla="*/ 1007267 h 1800114"/>
                <a:gd name="connsiteX9" fmla="*/ 621506 w 1571973"/>
                <a:gd name="connsiteY9" fmla="*/ 1352547 h 1800114"/>
                <a:gd name="connsiteX10" fmla="*/ 0 w 1571973"/>
                <a:gd name="connsiteY10" fmla="*/ 1119184 h 1800114"/>
                <a:gd name="connsiteX0" fmla="*/ 0 w 1620477"/>
                <a:gd name="connsiteY0" fmla="*/ 1119184 h 1800815"/>
                <a:gd name="connsiteX1" fmla="*/ 0 w 1620477"/>
                <a:gd name="connsiteY1" fmla="*/ 1647822 h 1800815"/>
                <a:gd name="connsiteX2" fmla="*/ 1462087 w 1620477"/>
                <a:gd name="connsiteY2" fmla="*/ 1469229 h 1800815"/>
                <a:gd name="connsiteX3" fmla="*/ 1264443 w 1620477"/>
                <a:gd name="connsiteY3" fmla="*/ 540542 h 1800815"/>
                <a:gd name="connsiteX4" fmla="*/ 835820 w 1620477"/>
                <a:gd name="connsiteY4" fmla="*/ 373856 h 1800815"/>
                <a:gd name="connsiteX5" fmla="*/ 807244 w 1620477"/>
                <a:gd name="connsiteY5" fmla="*/ 0 h 1800815"/>
                <a:gd name="connsiteX6" fmla="*/ 421482 w 1620477"/>
                <a:gd name="connsiteY6" fmla="*/ 321468 h 1800815"/>
                <a:gd name="connsiteX7" fmla="*/ 595313 w 1620477"/>
                <a:gd name="connsiteY7" fmla="*/ 766762 h 1800815"/>
                <a:gd name="connsiteX8" fmla="*/ 923925 w 1620477"/>
                <a:gd name="connsiteY8" fmla="*/ 1007267 h 1800815"/>
                <a:gd name="connsiteX9" fmla="*/ 621506 w 1620477"/>
                <a:gd name="connsiteY9" fmla="*/ 1352547 h 1800815"/>
                <a:gd name="connsiteX10" fmla="*/ 0 w 1620477"/>
                <a:gd name="connsiteY10" fmla="*/ 1119184 h 1800815"/>
                <a:gd name="connsiteX0" fmla="*/ 0 w 1629436"/>
                <a:gd name="connsiteY0" fmla="*/ 1119184 h 1799377"/>
                <a:gd name="connsiteX1" fmla="*/ 0 w 1629436"/>
                <a:gd name="connsiteY1" fmla="*/ 1647822 h 1799377"/>
                <a:gd name="connsiteX2" fmla="*/ 1476374 w 1629436"/>
                <a:gd name="connsiteY2" fmla="*/ 1464467 h 1799377"/>
                <a:gd name="connsiteX3" fmla="*/ 1264443 w 1629436"/>
                <a:gd name="connsiteY3" fmla="*/ 540542 h 1799377"/>
                <a:gd name="connsiteX4" fmla="*/ 835820 w 1629436"/>
                <a:gd name="connsiteY4" fmla="*/ 373856 h 1799377"/>
                <a:gd name="connsiteX5" fmla="*/ 807244 w 1629436"/>
                <a:gd name="connsiteY5" fmla="*/ 0 h 1799377"/>
                <a:gd name="connsiteX6" fmla="*/ 421482 w 1629436"/>
                <a:gd name="connsiteY6" fmla="*/ 321468 h 1799377"/>
                <a:gd name="connsiteX7" fmla="*/ 595313 w 1629436"/>
                <a:gd name="connsiteY7" fmla="*/ 766762 h 1799377"/>
                <a:gd name="connsiteX8" fmla="*/ 923925 w 1629436"/>
                <a:gd name="connsiteY8" fmla="*/ 1007267 h 1799377"/>
                <a:gd name="connsiteX9" fmla="*/ 621506 w 1629436"/>
                <a:gd name="connsiteY9" fmla="*/ 1352547 h 1799377"/>
                <a:gd name="connsiteX10" fmla="*/ 0 w 1629436"/>
                <a:gd name="connsiteY10" fmla="*/ 1119184 h 1799377"/>
                <a:gd name="connsiteX0" fmla="*/ 0 w 1606110"/>
                <a:gd name="connsiteY0" fmla="*/ 1119184 h 1796213"/>
                <a:gd name="connsiteX1" fmla="*/ 0 w 1606110"/>
                <a:gd name="connsiteY1" fmla="*/ 1647822 h 1796213"/>
                <a:gd name="connsiteX2" fmla="*/ 1476374 w 1606110"/>
                <a:gd name="connsiteY2" fmla="*/ 1464467 h 1796213"/>
                <a:gd name="connsiteX3" fmla="*/ 1264443 w 1606110"/>
                <a:gd name="connsiteY3" fmla="*/ 540542 h 1796213"/>
                <a:gd name="connsiteX4" fmla="*/ 835820 w 1606110"/>
                <a:gd name="connsiteY4" fmla="*/ 373856 h 1796213"/>
                <a:gd name="connsiteX5" fmla="*/ 807244 w 1606110"/>
                <a:gd name="connsiteY5" fmla="*/ 0 h 1796213"/>
                <a:gd name="connsiteX6" fmla="*/ 421482 w 1606110"/>
                <a:gd name="connsiteY6" fmla="*/ 321468 h 1796213"/>
                <a:gd name="connsiteX7" fmla="*/ 595313 w 1606110"/>
                <a:gd name="connsiteY7" fmla="*/ 766762 h 1796213"/>
                <a:gd name="connsiteX8" fmla="*/ 923925 w 1606110"/>
                <a:gd name="connsiteY8" fmla="*/ 1007267 h 1796213"/>
                <a:gd name="connsiteX9" fmla="*/ 621506 w 1606110"/>
                <a:gd name="connsiteY9" fmla="*/ 1352547 h 1796213"/>
                <a:gd name="connsiteX10" fmla="*/ 0 w 1606110"/>
                <a:gd name="connsiteY10" fmla="*/ 1119184 h 1796213"/>
                <a:gd name="connsiteX0" fmla="*/ 0 w 1625337"/>
                <a:gd name="connsiteY0" fmla="*/ 1119184 h 1796213"/>
                <a:gd name="connsiteX1" fmla="*/ 0 w 1625337"/>
                <a:gd name="connsiteY1" fmla="*/ 1647822 h 1796213"/>
                <a:gd name="connsiteX2" fmla="*/ 1476374 w 1625337"/>
                <a:gd name="connsiteY2" fmla="*/ 1464467 h 1796213"/>
                <a:gd name="connsiteX3" fmla="*/ 1264443 w 1625337"/>
                <a:gd name="connsiteY3" fmla="*/ 540542 h 1796213"/>
                <a:gd name="connsiteX4" fmla="*/ 835820 w 1625337"/>
                <a:gd name="connsiteY4" fmla="*/ 373856 h 1796213"/>
                <a:gd name="connsiteX5" fmla="*/ 807244 w 1625337"/>
                <a:gd name="connsiteY5" fmla="*/ 0 h 1796213"/>
                <a:gd name="connsiteX6" fmla="*/ 421482 w 1625337"/>
                <a:gd name="connsiteY6" fmla="*/ 321468 h 1796213"/>
                <a:gd name="connsiteX7" fmla="*/ 595313 w 1625337"/>
                <a:gd name="connsiteY7" fmla="*/ 766762 h 1796213"/>
                <a:gd name="connsiteX8" fmla="*/ 923925 w 1625337"/>
                <a:gd name="connsiteY8" fmla="*/ 1007267 h 1796213"/>
                <a:gd name="connsiteX9" fmla="*/ 621506 w 1625337"/>
                <a:gd name="connsiteY9" fmla="*/ 1352547 h 1796213"/>
                <a:gd name="connsiteX10" fmla="*/ 0 w 1625337"/>
                <a:gd name="connsiteY10" fmla="*/ 1119184 h 1796213"/>
                <a:gd name="connsiteX0" fmla="*/ 0 w 1625337"/>
                <a:gd name="connsiteY0" fmla="*/ 1119184 h 1803595"/>
                <a:gd name="connsiteX1" fmla="*/ 0 w 1625337"/>
                <a:gd name="connsiteY1" fmla="*/ 1647822 h 1803595"/>
                <a:gd name="connsiteX2" fmla="*/ 1476374 w 1625337"/>
                <a:gd name="connsiteY2" fmla="*/ 1464467 h 1803595"/>
                <a:gd name="connsiteX3" fmla="*/ 1264443 w 1625337"/>
                <a:gd name="connsiteY3" fmla="*/ 540542 h 1803595"/>
                <a:gd name="connsiteX4" fmla="*/ 835820 w 1625337"/>
                <a:gd name="connsiteY4" fmla="*/ 373856 h 1803595"/>
                <a:gd name="connsiteX5" fmla="*/ 807244 w 1625337"/>
                <a:gd name="connsiteY5" fmla="*/ 0 h 1803595"/>
                <a:gd name="connsiteX6" fmla="*/ 421482 w 1625337"/>
                <a:gd name="connsiteY6" fmla="*/ 321468 h 1803595"/>
                <a:gd name="connsiteX7" fmla="*/ 595313 w 1625337"/>
                <a:gd name="connsiteY7" fmla="*/ 766762 h 1803595"/>
                <a:gd name="connsiteX8" fmla="*/ 923925 w 1625337"/>
                <a:gd name="connsiteY8" fmla="*/ 1007267 h 1803595"/>
                <a:gd name="connsiteX9" fmla="*/ 621506 w 1625337"/>
                <a:gd name="connsiteY9" fmla="*/ 1352547 h 1803595"/>
                <a:gd name="connsiteX10" fmla="*/ 0 w 1625337"/>
                <a:gd name="connsiteY10" fmla="*/ 1119184 h 1803595"/>
                <a:gd name="connsiteX0" fmla="*/ 0 w 1625337"/>
                <a:gd name="connsiteY0" fmla="*/ 1119184 h 1799376"/>
                <a:gd name="connsiteX1" fmla="*/ 0 w 1625337"/>
                <a:gd name="connsiteY1" fmla="*/ 1647822 h 1799376"/>
                <a:gd name="connsiteX2" fmla="*/ 1476374 w 1625337"/>
                <a:gd name="connsiteY2" fmla="*/ 1464467 h 1799376"/>
                <a:gd name="connsiteX3" fmla="*/ 1264443 w 1625337"/>
                <a:gd name="connsiteY3" fmla="*/ 540542 h 1799376"/>
                <a:gd name="connsiteX4" fmla="*/ 835820 w 1625337"/>
                <a:gd name="connsiteY4" fmla="*/ 373856 h 1799376"/>
                <a:gd name="connsiteX5" fmla="*/ 807244 w 1625337"/>
                <a:gd name="connsiteY5" fmla="*/ 0 h 1799376"/>
                <a:gd name="connsiteX6" fmla="*/ 421482 w 1625337"/>
                <a:gd name="connsiteY6" fmla="*/ 321468 h 1799376"/>
                <a:gd name="connsiteX7" fmla="*/ 595313 w 1625337"/>
                <a:gd name="connsiteY7" fmla="*/ 766762 h 1799376"/>
                <a:gd name="connsiteX8" fmla="*/ 923925 w 1625337"/>
                <a:gd name="connsiteY8" fmla="*/ 1007267 h 1799376"/>
                <a:gd name="connsiteX9" fmla="*/ 621506 w 1625337"/>
                <a:gd name="connsiteY9" fmla="*/ 1352547 h 1799376"/>
                <a:gd name="connsiteX10" fmla="*/ 0 w 1625337"/>
                <a:gd name="connsiteY10" fmla="*/ 1119184 h 1799376"/>
                <a:gd name="connsiteX0" fmla="*/ 0 w 1635914"/>
                <a:gd name="connsiteY0" fmla="*/ 1119184 h 1799376"/>
                <a:gd name="connsiteX1" fmla="*/ 0 w 1635914"/>
                <a:gd name="connsiteY1" fmla="*/ 1647822 h 1799376"/>
                <a:gd name="connsiteX2" fmla="*/ 1476374 w 1635914"/>
                <a:gd name="connsiteY2" fmla="*/ 1464467 h 1799376"/>
                <a:gd name="connsiteX3" fmla="*/ 1264443 w 1635914"/>
                <a:gd name="connsiteY3" fmla="*/ 540542 h 1799376"/>
                <a:gd name="connsiteX4" fmla="*/ 835820 w 1635914"/>
                <a:gd name="connsiteY4" fmla="*/ 373856 h 1799376"/>
                <a:gd name="connsiteX5" fmla="*/ 807244 w 1635914"/>
                <a:gd name="connsiteY5" fmla="*/ 0 h 1799376"/>
                <a:gd name="connsiteX6" fmla="*/ 421482 w 1635914"/>
                <a:gd name="connsiteY6" fmla="*/ 321468 h 1799376"/>
                <a:gd name="connsiteX7" fmla="*/ 595313 w 1635914"/>
                <a:gd name="connsiteY7" fmla="*/ 766762 h 1799376"/>
                <a:gd name="connsiteX8" fmla="*/ 923925 w 1635914"/>
                <a:gd name="connsiteY8" fmla="*/ 1007267 h 1799376"/>
                <a:gd name="connsiteX9" fmla="*/ 621506 w 1635914"/>
                <a:gd name="connsiteY9" fmla="*/ 1352547 h 1799376"/>
                <a:gd name="connsiteX10" fmla="*/ 0 w 1635914"/>
                <a:gd name="connsiteY10" fmla="*/ 1119184 h 1799376"/>
                <a:gd name="connsiteX0" fmla="*/ 0 w 1720482"/>
                <a:gd name="connsiteY0" fmla="*/ 1119184 h 1772537"/>
                <a:gd name="connsiteX1" fmla="*/ 0 w 1720482"/>
                <a:gd name="connsiteY1" fmla="*/ 1647822 h 1772537"/>
                <a:gd name="connsiteX2" fmla="*/ 1476374 w 1720482"/>
                <a:gd name="connsiteY2" fmla="*/ 1464467 h 1772537"/>
                <a:gd name="connsiteX3" fmla="*/ 1397793 w 1720482"/>
                <a:gd name="connsiteY3" fmla="*/ 626267 h 1772537"/>
                <a:gd name="connsiteX4" fmla="*/ 835820 w 1720482"/>
                <a:gd name="connsiteY4" fmla="*/ 373856 h 1772537"/>
                <a:gd name="connsiteX5" fmla="*/ 807244 w 1720482"/>
                <a:gd name="connsiteY5" fmla="*/ 0 h 1772537"/>
                <a:gd name="connsiteX6" fmla="*/ 421482 w 1720482"/>
                <a:gd name="connsiteY6" fmla="*/ 321468 h 1772537"/>
                <a:gd name="connsiteX7" fmla="*/ 595313 w 1720482"/>
                <a:gd name="connsiteY7" fmla="*/ 766762 h 1772537"/>
                <a:gd name="connsiteX8" fmla="*/ 923925 w 1720482"/>
                <a:gd name="connsiteY8" fmla="*/ 1007267 h 1772537"/>
                <a:gd name="connsiteX9" fmla="*/ 621506 w 1720482"/>
                <a:gd name="connsiteY9" fmla="*/ 1352547 h 1772537"/>
                <a:gd name="connsiteX10" fmla="*/ 0 w 1720482"/>
                <a:gd name="connsiteY10" fmla="*/ 1119184 h 1772537"/>
                <a:gd name="connsiteX0" fmla="*/ 0 w 1630664"/>
                <a:gd name="connsiteY0" fmla="*/ 1119184 h 1772537"/>
                <a:gd name="connsiteX1" fmla="*/ 0 w 1630664"/>
                <a:gd name="connsiteY1" fmla="*/ 1647822 h 1772537"/>
                <a:gd name="connsiteX2" fmla="*/ 1476374 w 1630664"/>
                <a:gd name="connsiteY2" fmla="*/ 1464467 h 1772537"/>
                <a:gd name="connsiteX3" fmla="*/ 1397793 w 1630664"/>
                <a:gd name="connsiteY3" fmla="*/ 626267 h 1772537"/>
                <a:gd name="connsiteX4" fmla="*/ 835820 w 1630664"/>
                <a:gd name="connsiteY4" fmla="*/ 373856 h 1772537"/>
                <a:gd name="connsiteX5" fmla="*/ 807244 w 1630664"/>
                <a:gd name="connsiteY5" fmla="*/ 0 h 1772537"/>
                <a:gd name="connsiteX6" fmla="*/ 421482 w 1630664"/>
                <a:gd name="connsiteY6" fmla="*/ 321468 h 1772537"/>
                <a:gd name="connsiteX7" fmla="*/ 595313 w 1630664"/>
                <a:gd name="connsiteY7" fmla="*/ 766762 h 1772537"/>
                <a:gd name="connsiteX8" fmla="*/ 923925 w 1630664"/>
                <a:gd name="connsiteY8" fmla="*/ 1007267 h 1772537"/>
                <a:gd name="connsiteX9" fmla="*/ 621506 w 1630664"/>
                <a:gd name="connsiteY9" fmla="*/ 1352547 h 1772537"/>
                <a:gd name="connsiteX10" fmla="*/ 0 w 1630664"/>
                <a:gd name="connsiteY10" fmla="*/ 1119184 h 1772537"/>
                <a:gd name="connsiteX0" fmla="*/ 0 w 1615856"/>
                <a:gd name="connsiteY0" fmla="*/ 1119184 h 1800557"/>
                <a:gd name="connsiteX1" fmla="*/ 0 w 1615856"/>
                <a:gd name="connsiteY1" fmla="*/ 1647822 h 1800557"/>
                <a:gd name="connsiteX2" fmla="*/ 1476374 w 1615856"/>
                <a:gd name="connsiteY2" fmla="*/ 1464467 h 1800557"/>
                <a:gd name="connsiteX3" fmla="*/ 1397793 w 1615856"/>
                <a:gd name="connsiteY3" fmla="*/ 626267 h 1800557"/>
                <a:gd name="connsiteX4" fmla="*/ 835820 w 1615856"/>
                <a:gd name="connsiteY4" fmla="*/ 373856 h 1800557"/>
                <a:gd name="connsiteX5" fmla="*/ 807244 w 1615856"/>
                <a:gd name="connsiteY5" fmla="*/ 0 h 1800557"/>
                <a:gd name="connsiteX6" fmla="*/ 421482 w 1615856"/>
                <a:gd name="connsiteY6" fmla="*/ 321468 h 1800557"/>
                <a:gd name="connsiteX7" fmla="*/ 595313 w 1615856"/>
                <a:gd name="connsiteY7" fmla="*/ 766762 h 1800557"/>
                <a:gd name="connsiteX8" fmla="*/ 923925 w 1615856"/>
                <a:gd name="connsiteY8" fmla="*/ 1007267 h 1800557"/>
                <a:gd name="connsiteX9" fmla="*/ 621506 w 1615856"/>
                <a:gd name="connsiteY9" fmla="*/ 1352547 h 1800557"/>
                <a:gd name="connsiteX10" fmla="*/ 0 w 1615856"/>
                <a:gd name="connsiteY10" fmla="*/ 1119184 h 1800557"/>
                <a:gd name="connsiteX0" fmla="*/ 0 w 1626496"/>
                <a:gd name="connsiteY0" fmla="*/ 1119184 h 1800277"/>
                <a:gd name="connsiteX1" fmla="*/ 0 w 1626496"/>
                <a:gd name="connsiteY1" fmla="*/ 1647822 h 1800277"/>
                <a:gd name="connsiteX2" fmla="*/ 1476374 w 1626496"/>
                <a:gd name="connsiteY2" fmla="*/ 1464467 h 1800277"/>
                <a:gd name="connsiteX3" fmla="*/ 1397793 w 1626496"/>
                <a:gd name="connsiteY3" fmla="*/ 626267 h 1800277"/>
                <a:gd name="connsiteX4" fmla="*/ 835820 w 1626496"/>
                <a:gd name="connsiteY4" fmla="*/ 373856 h 1800277"/>
                <a:gd name="connsiteX5" fmla="*/ 807244 w 1626496"/>
                <a:gd name="connsiteY5" fmla="*/ 0 h 1800277"/>
                <a:gd name="connsiteX6" fmla="*/ 421482 w 1626496"/>
                <a:gd name="connsiteY6" fmla="*/ 321468 h 1800277"/>
                <a:gd name="connsiteX7" fmla="*/ 595313 w 1626496"/>
                <a:gd name="connsiteY7" fmla="*/ 766762 h 1800277"/>
                <a:gd name="connsiteX8" fmla="*/ 923925 w 1626496"/>
                <a:gd name="connsiteY8" fmla="*/ 1007267 h 1800277"/>
                <a:gd name="connsiteX9" fmla="*/ 621506 w 1626496"/>
                <a:gd name="connsiteY9" fmla="*/ 1352547 h 1800277"/>
                <a:gd name="connsiteX10" fmla="*/ 0 w 1626496"/>
                <a:gd name="connsiteY10" fmla="*/ 1119184 h 180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6496" h="1800277">
                  <a:moveTo>
                    <a:pt x="0" y="1119184"/>
                  </a:moveTo>
                  <a:lnTo>
                    <a:pt x="0" y="1647822"/>
                  </a:lnTo>
                  <a:cubicBezTo>
                    <a:pt x="686196" y="1947462"/>
                    <a:pt x="1196953" y="1762179"/>
                    <a:pt x="1476374" y="1464467"/>
                  </a:cubicBezTo>
                  <a:cubicBezTo>
                    <a:pt x="1699180" y="1227076"/>
                    <a:pt x="1674781" y="817990"/>
                    <a:pt x="1397793" y="626267"/>
                  </a:cubicBezTo>
                  <a:cubicBezTo>
                    <a:pt x="1228944" y="509394"/>
                    <a:pt x="1023144" y="457993"/>
                    <a:pt x="835820" y="373856"/>
                  </a:cubicBezTo>
                  <a:cubicBezTo>
                    <a:pt x="676275" y="325437"/>
                    <a:pt x="542926" y="112711"/>
                    <a:pt x="807244" y="0"/>
                  </a:cubicBezTo>
                  <a:cubicBezTo>
                    <a:pt x="507207" y="50006"/>
                    <a:pt x="440530" y="235745"/>
                    <a:pt x="421482" y="321468"/>
                  </a:cubicBezTo>
                  <a:cubicBezTo>
                    <a:pt x="362745" y="574674"/>
                    <a:pt x="546894" y="723107"/>
                    <a:pt x="595313" y="766762"/>
                  </a:cubicBezTo>
                  <a:cubicBezTo>
                    <a:pt x="664369" y="835024"/>
                    <a:pt x="857250" y="884236"/>
                    <a:pt x="923925" y="1007267"/>
                  </a:cubicBezTo>
                  <a:cubicBezTo>
                    <a:pt x="992188" y="1158079"/>
                    <a:pt x="883541" y="1334500"/>
                    <a:pt x="621506" y="1352547"/>
                  </a:cubicBezTo>
                  <a:cubicBezTo>
                    <a:pt x="455755" y="1363963"/>
                    <a:pt x="205977" y="1265235"/>
                    <a:pt x="0" y="1119184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23" name="Freeform 30"/>
            <p:cNvSpPr/>
            <p:nvPr userDrawn="1"/>
          </p:nvSpPr>
          <p:spPr>
            <a:xfrm>
              <a:off x="1986248" y="2249688"/>
              <a:ext cx="377466" cy="218603"/>
            </a:xfrm>
            <a:custGeom>
              <a:avLst/>
              <a:gdLst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13690"/>
                <a:gd name="connsiteY0" fmla="*/ 635794 h 788194"/>
                <a:gd name="connsiteX1" fmla="*/ 1402556 w 1413690"/>
                <a:gd name="connsiteY1" fmla="*/ 64294 h 788194"/>
                <a:gd name="connsiteX2" fmla="*/ 547687 w 1413690"/>
                <a:gd name="connsiteY2" fmla="*/ 0 h 788194"/>
                <a:gd name="connsiteX3" fmla="*/ 14287 w 1413690"/>
                <a:gd name="connsiteY3" fmla="*/ 469106 h 788194"/>
                <a:gd name="connsiteX4" fmla="*/ 0 w 1413690"/>
                <a:gd name="connsiteY4" fmla="*/ 788194 h 788194"/>
                <a:gd name="connsiteX5" fmla="*/ 283368 w 1413690"/>
                <a:gd name="connsiteY5" fmla="*/ 438150 h 788194"/>
                <a:gd name="connsiteX6" fmla="*/ 821531 w 1413690"/>
                <a:gd name="connsiteY6" fmla="*/ 371475 h 788194"/>
                <a:gd name="connsiteX7" fmla="*/ 1404937 w 1413690"/>
                <a:gd name="connsiteY7" fmla="*/ 635794 h 788194"/>
                <a:gd name="connsiteX0" fmla="*/ 1404937 w 1417413"/>
                <a:gd name="connsiteY0" fmla="*/ 635794 h 788194"/>
                <a:gd name="connsiteX1" fmla="*/ 1402556 w 1417413"/>
                <a:gd name="connsiteY1" fmla="*/ 64294 h 788194"/>
                <a:gd name="connsiteX2" fmla="*/ 547687 w 1417413"/>
                <a:gd name="connsiteY2" fmla="*/ 0 h 788194"/>
                <a:gd name="connsiteX3" fmla="*/ 14287 w 1417413"/>
                <a:gd name="connsiteY3" fmla="*/ 469106 h 788194"/>
                <a:gd name="connsiteX4" fmla="*/ 0 w 1417413"/>
                <a:gd name="connsiteY4" fmla="*/ 788194 h 788194"/>
                <a:gd name="connsiteX5" fmla="*/ 283368 w 1417413"/>
                <a:gd name="connsiteY5" fmla="*/ 438150 h 788194"/>
                <a:gd name="connsiteX6" fmla="*/ 821531 w 1417413"/>
                <a:gd name="connsiteY6" fmla="*/ 371475 h 788194"/>
                <a:gd name="connsiteX7" fmla="*/ 1404937 w 1417413"/>
                <a:gd name="connsiteY7" fmla="*/ 635794 h 788194"/>
                <a:gd name="connsiteX0" fmla="*/ 1404937 w 1417413"/>
                <a:gd name="connsiteY0" fmla="*/ 636458 h 788858"/>
                <a:gd name="connsiteX1" fmla="*/ 1402556 w 1417413"/>
                <a:gd name="connsiteY1" fmla="*/ 64958 h 788858"/>
                <a:gd name="connsiteX2" fmla="*/ 547687 w 1417413"/>
                <a:gd name="connsiteY2" fmla="*/ 664 h 788858"/>
                <a:gd name="connsiteX3" fmla="*/ 14287 w 1417413"/>
                <a:gd name="connsiteY3" fmla="*/ 469770 h 788858"/>
                <a:gd name="connsiteX4" fmla="*/ 0 w 1417413"/>
                <a:gd name="connsiteY4" fmla="*/ 788858 h 788858"/>
                <a:gd name="connsiteX5" fmla="*/ 283368 w 1417413"/>
                <a:gd name="connsiteY5" fmla="*/ 438814 h 788858"/>
                <a:gd name="connsiteX6" fmla="*/ 821531 w 1417413"/>
                <a:gd name="connsiteY6" fmla="*/ 372139 h 788858"/>
                <a:gd name="connsiteX7" fmla="*/ 1404937 w 1417413"/>
                <a:gd name="connsiteY7" fmla="*/ 636458 h 788858"/>
                <a:gd name="connsiteX0" fmla="*/ 1404937 w 1417413"/>
                <a:gd name="connsiteY0" fmla="*/ 659983 h 812383"/>
                <a:gd name="connsiteX1" fmla="*/ 1402556 w 1417413"/>
                <a:gd name="connsiteY1" fmla="*/ 88483 h 812383"/>
                <a:gd name="connsiteX2" fmla="*/ 547687 w 1417413"/>
                <a:gd name="connsiteY2" fmla="*/ 24189 h 812383"/>
                <a:gd name="connsiteX3" fmla="*/ 14287 w 1417413"/>
                <a:gd name="connsiteY3" fmla="*/ 493295 h 812383"/>
                <a:gd name="connsiteX4" fmla="*/ 0 w 1417413"/>
                <a:gd name="connsiteY4" fmla="*/ 812383 h 812383"/>
                <a:gd name="connsiteX5" fmla="*/ 283368 w 1417413"/>
                <a:gd name="connsiteY5" fmla="*/ 462339 h 812383"/>
                <a:gd name="connsiteX6" fmla="*/ 821531 w 1417413"/>
                <a:gd name="connsiteY6" fmla="*/ 395664 h 812383"/>
                <a:gd name="connsiteX7" fmla="*/ 1404937 w 1417413"/>
                <a:gd name="connsiteY7" fmla="*/ 659983 h 812383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6804 w 1419280"/>
                <a:gd name="connsiteY0" fmla="*/ 674932 h 827332"/>
                <a:gd name="connsiteX1" fmla="*/ 1404423 w 1419280"/>
                <a:gd name="connsiteY1" fmla="*/ 103432 h 827332"/>
                <a:gd name="connsiteX2" fmla="*/ 549554 w 1419280"/>
                <a:gd name="connsiteY2" fmla="*/ 39138 h 827332"/>
                <a:gd name="connsiteX3" fmla="*/ 16154 w 1419280"/>
                <a:gd name="connsiteY3" fmla="*/ 508244 h 827332"/>
                <a:gd name="connsiteX4" fmla="*/ 1867 w 1419280"/>
                <a:gd name="connsiteY4" fmla="*/ 827332 h 827332"/>
                <a:gd name="connsiteX5" fmla="*/ 285235 w 1419280"/>
                <a:gd name="connsiteY5" fmla="*/ 477288 h 827332"/>
                <a:gd name="connsiteX6" fmla="*/ 823398 w 1419280"/>
                <a:gd name="connsiteY6" fmla="*/ 410613 h 827332"/>
                <a:gd name="connsiteX7" fmla="*/ 1406804 w 1419280"/>
                <a:gd name="connsiteY7" fmla="*/ 674932 h 827332"/>
                <a:gd name="connsiteX0" fmla="*/ 1409119 w 1421595"/>
                <a:gd name="connsiteY0" fmla="*/ 674932 h 827332"/>
                <a:gd name="connsiteX1" fmla="*/ 1406738 w 1421595"/>
                <a:gd name="connsiteY1" fmla="*/ 103432 h 827332"/>
                <a:gd name="connsiteX2" fmla="*/ 551869 w 1421595"/>
                <a:gd name="connsiteY2" fmla="*/ 39138 h 827332"/>
                <a:gd name="connsiteX3" fmla="*/ 18469 w 1421595"/>
                <a:gd name="connsiteY3" fmla="*/ 508244 h 827332"/>
                <a:gd name="connsiteX4" fmla="*/ 4182 w 1421595"/>
                <a:gd name="connsiteY4" fmla="*/ 827332 h 827332"/>
                <a:gd name="connsiteX5" fmla="*/ 287550 w 1421595"/>
                <a:gd name="connsiteY5" fmla="*/ 477288 h 827332"/>
                <a:gd name="connsiteX6" fmla="*/ 825713 w 1421595"/>
                <a:gd name="connsiteY6" fmla="*/ 410613 h 827332"/>
                <a:gd name="connsiteX7" fmla="*/ 1409119 w 1421595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17089 w 1428574"/>
                <a:gd name="connsiteY0" fmla="*/ 674932 h 827332"/>
                <a:gd name="connsiteX1" fmla="*/ 1414708 w 1428574"/>
                <a:gd name="connsiteY1" fmla="*/ 103432 h 827332"/>
                <a:gd name="connsiteX2" fmla="*/ 559839 w 1428574"/>
                <a:gd name="connsiteY2" fmla="*/ 39138 h 827332"/>
                <a:gd name="connsiteX3" fmla="*/ 26439 w 1428574"/>
                <a:gd name="connsiteY3" fmla="*/ 508244 h 827332"/>
                <a:gd name="connsiteX4" fmla="*/ 12152 w 1428574"/>
                <a:gd name="connsiteY4" fmla="*/ 827332 h 827332"/>
                <a:gd name="connsiteX5" fmla="*/ 295520 w 1428574"/>
                <a:gd name="connsiteY5" fmla="*/ 477288 h 827332"/>
                <a:gd name="connsiteX6" fmla="*/ 833683 w 1428574"/>
                <a:gd name="connsiteY6" fmla="*/ 410613 h 827332"/>
                <a:gd name="connsiteX7" fmla="*/ 1417089 w 1428574"/>
                <a:gd name="connsiteY7" fmla="*/ 674932 h 82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574" h="827332">
                  <a:moveTo>
                    <a:pt x="1417089" y="674932"/>
                  </a:moveTo>
                  <a:cubicBezTo>
                    <a:pt x="1435346" y="448714"/>
                    <a:pt x="1429789" y="289169"/>
                    <a:pt x="1414708" y="103432"/>
                  </a:cubicBezTo>
                  <a:cubicBezTo>
                    <a:pt x="1129752" y="1038"/>
                    <a:pt x="880514" y="-34681"/>
                    <a:pt x="559839" y="39138"/>
                  </a:cubicBezTo>
                  <a:cubicBezTo>
                    <a:pt x="324968" y="93205"/>
                    <a:pt x="103590" y="255487"/>
                    <a:pt x="26439" y="508244"/>
                  </a:cubicBezTo>
                  <a:cubicBezTo>
                    <a:pt x="-7732" y="620193"/>
                    <a:pt x="-4518" y="728112"/>
                    <a:pt x="12152" y="827332"/>
                  </a:cubicBezTo>
                  <a:cubicBezTo>
                    <a:pt x="28424" y="650723"/>
                    <a:pt x="130471" y="560134"/>
                    <a:pt x="295520" y="477288"/>
                  </a:cubicBezTo>
                  <a:cubicBezTo>
                    <a:pt x="460084" y="394686"/>
                    <a:pt x="654458" y="387116"/>
                    <a:pt x="833683" y="410613"/>
                  </a:cubicBezTo>
                  <a:cubicBezTo>
                    <a:pt x="1142452" y="451094"/>
                    <a:pt x="1298820" y="584445"/>
                    <a:pt x="1417089" y="674932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8232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0" y="0"/>
            <a:ext cx="9144000" cy="51482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0" hangingPunct="0"/>
            <a:endParaRPr lang="nl-NL" sz="1800">
              <a:solidFill>
                <a:srgbClr val="FFFFFF"/>
              </a:solidFill>
            </a:endParaRPr>
          </a:p>
        </p:txBody>
      </p:sp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9"/>
          <a:stretch/>
        </p:blipFill>
        <p:spPr>
          <a:xfrm>
            <a:off x="5289550" y="2"/>
            <a:ext cx="3854450" cy="51434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86000" y="2845864"/>
            <a:ext cx="7920000" cy="609600"/>
          </a:xfrm>
        </p:spPr>
        <p:txBody>
          <a:bodyPr anchor="b"/>
          <a:lstStyle>
            <a:lvl1pPr algn="r">
              <a:lnSpc>
                <a:spcPts val="1800"/>
              </a:lnSpc>
              <a:defRPr sz="165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86000" y="3455941"/>
            <a:ext cx="7920000" cy="381000"/>
          </a:xfrm>
        </p:spPr>
        <p:txBody>
          <a:bodyPr anchor="b">
            <a:normAutofit/>
          </a:bodyPr>
          <a:lstStyle>
            <a:lvl1pPr marL="0" indent="0" algn="r">
              <a:lnSpc>
                <a:spcPts val="1125"/>
              </a:lnSpc>
              <a:spcAft>
                <a:spcPts val="0"/>
              </a:spcAft>
              <a:buNone/>
              <a:defRPr sz="975" b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  <a:endParaRPr lang="nl-NL" dirty="0"/>
          </a:p>
        </p:txBody>
      </p:sp>
      <p:grpSp>
        <p:nvGrpSpPr>
          <p:cNvPr id="5" name="Groep 4"/>
          <p:cNvGrpSpPr/>
          <p:nvPr userDrawn="1"/>
        </p:nvGrpSpPr>
        <p:grpSpPr>
          <a:xfrm>
            <a:off x="6736424" y="2238432"/>
            <a:ext cx="1670143" cy="335699"/>
            <a:chOff x="6957984" y="1750302"/>
            <a:chExt cx="1670143" cy="468259"/>
          </a:xfrm>
        </p:grpSpPr>
        <p:sp>
          <p:nvSpPr>
            <p:cNvPr id="8" name="Freeform 27"/>
            <p:cNvSpPr/>
            <p:nvPr userDrawn="1"/>
          </p:nvSpPr>
          <p:spPr>
            <a:xfrm>
              <a:off x="6957984" y="1763098"/>
              <a:ext cx="417231" cy="446740"/>
            </a:xfrm>
            <a:custGeom>
              <a:avLst/>
              <a:gdLst>
                <a:gd name="connsiteX0" fmla="*/ 0 w 1097756"/>
                <a:gd name="connsiteY0" fmla="*/ 0 h 1181100"/>
                <a:gd name="connsiteX1" fmla="*/ 745331 w 1097756"/>
                <a:gd name="connsiteY1" fmla="*/ 0 h 1181100"/>
                <a:gd name="connsiteX2" fmla="*/ 1097756 w 1097756"/>
                <a:gd name="connsiteY2" fmla="*/ 1178718 h 1181100"/>
                <a:gd name="connsiteX3" fmla="*/ 523875 w 1097756"/>
                <a:gd name="connsiteY3" fmla="*/ 1181100 h 1181100"/>
                <a:gd name="connsiteX4" fmla="*/ 0 w 1097756"/>
                <a:gd name="connsiteY4" fmla="*/ 0 h 1181100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523875 w 1400175"/>
                <a:gd name="connsiteY3" fmla="*/ 1181100 h 2197893"/>
                <a:gd name="connsiteX4" fmla="*/ 0 w 1400175"/>
                <a:gd name="connsiteY4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1047750 w 1400175"/>
                <a:gd name="connsiteY3" fmla="*/ 1790700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50094 w 1400175"/>
                <a:gd name="connsiteY3" fmla="*/ 2193131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230981 w 1400175"/>
                <a:gd name="connsiteY5" fmla="*/ 295275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95262 w 1400175"/>
                <a:gd name="connsiteY5" fmla="*/ 1204913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135731 w 1400175"/>
                <a:gd name="connsiteY6" fmla="*/ 1102518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378619 w 1400175"/>
                <a:gd name="connsiteY7" fmla="*/ 862012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426244 w 1400175"/>
                <a:gd name="connsiteY8" fmla="*/ 1112043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52388 w 1400175"/>
                <a:gd name="connsiteY9" fmla="*/ 1131093 h 2197893"/>
                <a:gd name="connsiteX10" fmla="*/ 0 w 1400175"/>
                <a:gd name="connsiteY10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2197893 h 2197893"/>
                <a:gd name="connsiteX10" fmla="*/ 0 w 1400175"/>
                <a:gd name="connsiteY10" fmla="*/ 0 h 2197893"/>
                <a:gd name="connsiteX0" fmla="*/ 4762 w 1404937"/>
                <a:gd name="connsiteY0" fmla="*/ 0 h 2197893"/>
                <a:gd name="connsiteX1" fmla="*/ 750093 w 1404937"/>
                <a:gd name="connsiteY1" fmla="*/ 0 h 2197893"/>
                <a:gd name="connsiteX2" fmla="*/ 1404937 w 1404937"/>
                <a:gd name="connsiteY2" fmla="*/ 2197893 h 2197893"/>
                <a:gd name="connsiteX3" fmla="*/ 752475 w 1404937"/>
                <a:gd name="connsiteY3" fmla="*/ 2195512 h 2197893"/>
                <a:gd name="connsiteX4" fmla="*/ 376237 w 1404937"/>
                <a:gd name="connsiteY4" fmla="*/ 478631 h 2197893"/>
                <a:gd name="connsiteX5" fmla="*/ 178592 w 1404937"/>
                <a:gd name="connsiteY5" fmla="*/ 1383507 h 2197893"/>
                <a:gd name="connsiteX6" fmla="*/ 614362 w 1404937"/>
                <a:gd name="connsiteY6" fmla="*/ 1385887 h 2197893"/>
                <a:gd name="connsiteX7" fmla="*/ 697706 w 1404937"/>
                <a:gd name="connsiteY7" fmla="*/ 1797843 h 2197893"/>
                <a:gd name="connsiteX8" fmla="*/ 92868 w 1404937"/>
                <a:gd name="connsiteY8" fmla="*/ 1795462 h 2197893"/>
                <a:gd name="connsiteX9" fmla="*/ 4762 w 1404937"/>
                <a:gd name="connsiteY9" fmla="*/ 2197893 h 2197893"/>
                <a:gd name="connsiteX10" fmla="*/ 0 w 1404937"/>
                <a:gd name="connsiteY10" fmla="*/ 2045493 h 2197893"/>
                <a:gd name="connsiteX11" fmla="*/ 4762 w 1404937"/>
                <a:gd name="connsiteY11" fmla="*/ 0 h 2197893"/>
                <a:gd name="connsiteX0" fmla="*/ 652462 w 2052637"/>
                <a:gd name="connsiteY0" fmla="*/ 0 h 2197893"/>
                <a:gd name="connsiteX1" fmla="*/ 1397793 w 2052637"/>
                <a:gd name="connsiteY1" fmla="*/ 0 h 2197893"/>
                <a:gd name="connsiteX2" fmla="*/ 2052637 w 2052637"/>
                <a:gd name="connsiteY2" fmla="*/ 2197893 h 2197893"/>
                <a:gd name="connsiteX3" fmla="*/ 1400175 w 2052637"/>
                <a:gd name="connsiteY3" fmla="*/ 2195512 h 2197893"/>
                <a:gd name="connsiteX4" fmla="*/ 1023937 w 2052637"/>
                <a:gd name="connsiteY4" fmla="*/ 478631 h 2197893"/>
                <a:gd name="connsiteX5" fmla="*/ 826292 w 2052637"/>
                <a:gd name="connsiteY5" fmla="*/ 1383507 h 2197893"/>
                <a:gd name="connsiteX6" fmla="*/ 1262062 w 2052637"/>
                <a:gd name="connsiteY6" fmla="*/ 1385887 h 2197893"/>
                <a:gd name="connsiteX7" fmla="*/ 1345406 w 2052637"/>
                <a:gd name="connsiteY7" fmla="*/ 1797843 h 2197893"/>
                <a:gd name="connsiteX8" fmla="*/ 740568 w 2052637"/>
                <a:gd name="connsiteY8" fmla="*/ 1795462 h 2197893"/>
                <a:gd name="connsiteX9" fmla="*/ 652462 w 2052637"/>
                <a:gd name="connsiteY9" fmla="*/ 2197893 h 2197893"/>
                <a:gd name="connsiteX10" fmla="*/ 0 w 2052637"/>
                <a:gd name="connsiteY10" fmla="*/ 2193131 h 2197893"/>
                <a:gd name="connsiteX11" fmla="*/ 652462 w 2052637"/>
                <a:gd name="connsiteY11" fmla="*/ 0 h 2197893"/>
                <a:gd name="connsiteX0" fmla="*/ 652462 w 2052637"/>
                <a:gd name="connsiteY0" fmla="*/ 1 h 2197894"/>
                <a:gd name="connsiteX1" fmla="*/ 1397793 w 2052637"/>
                <a:gd name="connsiteY1" fmla="*/ 1 h 2197894"/>
                <a:gd name="connsiteX2" fmla="*/ 2052637 w 2052637"/>
                <a:gd name="connsiteY2" fmla="*/ 2197894 h 2197894"/>
                <a:gd name="connsiteX3" fmla="*/ 1400175 w 2052637"/>
                <a:gd name="connsiteY3" fmla="*/ 2195513 h 2197894"/>
                <a:gd name="connsiteX4" fmla="*/ 1023937 w 2052637"/>
                <a:gd name="connsiteY4" fmla="*/ 478632 h 2197894"/>
                <a:gd name="connsiteX5" fmla="*/ 826292 w 2052637"/>
                <a:gd name="connsiteY5" fmla="*/ 1383508 h 2197894"/>
                <a:gd name="connsiteX6" fmla="*/ 1262062 w 2052637"/>
                <a:gd name="connsiteY6" fmla="*/ 1385888 h 2197894"/>
                <a:gd name="connsiteX7" fmla="*/ 1345406 w 2052637"/>
                <a:gd name="connsiteY7" fmla="*/ 1797844 h 2197894"/>
                <a:gd name="connsiteX8" fmla="*/ 740568 w 2052637"/>
                <a:gd name="connsiteY8" fmla="*/ 1795463 h 2197894"/>
                <a:gd name="connsiteX9" fmla="*/ 652462 w 2052637"/>
                <a:gd name="connsiteY9" fmla="*/ 2197894 h 2197894"/>
                <a:gd name="connsiteX10" fmla="*/ 0 w 2052637"/>
                <a:gd name="connsiteY10" fmla="*/ 2193132 h 2197894"/>
                <a:gd name="connsiteX11" fmla="*/ 652462 w 2052637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62133 w 2052708"/>
                <a:gd name="connsiteY6" fmla="*/ 1385888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9271 w 2052708"/>
                <a:gd name="connsiteY6" fmla="*/ 1376363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5463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2708" h="2197894">
                  <a:moveTo>
                    <a:pt x="652533" y="1"/>
                  </a:moveTo>
                  <a:lnTo>
                    <a:pt x="1397864" y="1"/>
                  </a:lnTo>
                  <a:lnTo>
                    <a:pt x="2052708" y="2197894"/>
                  </a:lnTo>
                  <a:lnTo>
                    <a:pt x="1400246" y="2195513"/>
                  </a:lnTo>
                  <a:lnTo>
                    <a:pt x="1024008" y="478632"/>
                  </a:lnTo>
                  <a:lnTo>
                    <a:pt x="826363" y="1383508"/>
                  </a:lnTo>
                  <a:lnTo>
                    <a:pt x="1221653" y="1383507"/>
                  </a:lnTo>
                  <a:lnTo>
                    <a:pt x="1312139" y="1795463"/>
                  </a:lnTo>
                  <a:lnTo>
                    <a:pt x="740639" y="1795463"/>
                  </a:lnTo>
                  <a:lnTo>
                    <a:pt x="652533" y="2197894"/>
                  </a:lnTo>
                  <a:lnTo>
                    <a:pt x="71" y="2193132"/>
                  </a:lnTo>
                  <a:cubicBezTo>
                    <a:pt x="-7867" y="2197101"/>
                    <a:pt x="648565" y="-1587"/>
                    <a:pt x="652533" y="1"/>
                  </a:cubicBezTo>
                  <a:close/>
                </a:path>
              </a:pathLst>
            </a:custGeom>
            <a:solidFill>
              <a:srgbClr val="0F23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9" name="Freeform 28"/>
            <p:cNvSpPr/>
            <p:nvPr userDrawn="1"/>
          </p:nvSpPr>
          <p:spPr>
            <a:xfrm>
              <a:off x="7772400" y="1762613"/>
              <a:ext cx="508209" cy="446742"/>
            </a:xfrm>
            <a:custGeom>
              <a:avLst/>
              <a:gdLst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0 w 688182"/>
                <a:gd name="connsiteY3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214313 w 688182"/>
                <a:gd name="connsiteY3" fmla="*/ 652463 h 950119"/>
                <a:gd name="connsiteX4" fmla="*/ 0 w 688182"/>
                <a:gd name="connsiteY4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111919 w 688182"/>
                <a:gd name="connsiteY3" fmla="*/ 95250 h 950119"/>
                <a:gd name="connsiteX4" fmla="*/ 0 w 688182"/>
                <a:gd name="connsiteY4" fmla="*/ 950119 h 950119"/>
                <a:gd name="connsiteX0" fmla="*/ 0 w 723900"/>
                <a:gd name="connsiteY0" fmla="*/ 1395413 h 1395413"/>
                <a:gd name="connsiteX1" fmla="*/ 611982 w 723900"/>
                <a:gd name="connsiteY1" fmla="*/ 1395413 h 1395413"/>
                <a:gd name="connsiteX2" fmla="*/ 723900 w 723900"/>
                <a:gd name="connsiteY2" fmla="*/ 0 h 1395413"/>
                <a:gd name="connsiteX3" fmla="*/ 111919 w 723900"/>
                <a:gd name="connsiteY3" fmla="*/ 540544 h 1395413"/>
                <a:gd name="connsiteX4" fmla="*/ 0 w 723900"/>
                <a:gd name="connsiteY4" fmla="*/ 1395413 h 1395413"/>
                <a:gd name="connsiteX0" fmla="*/ 0 w 723900"/>
                <a:gd name="connsiteY0" fmla="*/ 2031206 h 2031206"/>
                <a:gd name="connsiteX1" fmla="*/ 611982 w 723900"/>
                <a:gd name="connsiteY1" fmla="*/ 2031206 h 2031206"/>
                <a:gd name="connsiteX2" fmla="*/ 723900 w 723900"/>
                <a:gd name="connsiteY2" fmla="*/ 635793 h 2031206"/>
                <a:gd name="connsiteX3" fmla="*/ 266700 w 723900"/>
                <a:gd name="connsiteY3" fmla="*/ 0 h 2031206"/>
                <a:gd name="connsiteX4" fmla="*/ 0 w 723900"/>
                <a:gd name="connsiteY4" fmla="*/ 2031206 h 2031206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283369 w 723900"/>
                <a:gd name="connsiteY3" fmla="*/ 0 h 2195513"/>
                <a:gd name="connsiteX4" fmla="*/ 0 w 723900"/>
                <a:gd name="connsiteY4" fmla="*/ 2195513 h 2195513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500063 w 723900"/>
                <a:gd name="connsiteY3" fmla="*/ 388145 h 2195513"/>
                <a:gd name="connsiteX4" fmla="*/ 283369 w 723900"/>
                <a:gd name="connsiteY4" fmla="*/ 0 h 2195513"/>
                <a:gd name="connsiteX5" fmla="*/ 0 w 723900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945356 w 945356"/>
                <a:gd name="connsiteY3" fmla="*/ 2382 h 2195513"/>
                <a:gd name="connsiteX4" fmla="*/ 283369 w 945356"/>
                <a:gd name="connsiteY4" fmla="*/ 0 h 2195513"/>
                <a:gd name="connsiteX5" fmla="*/ 0 w 945356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790575 w 945356"/>
                <a:gd name="connsiteY3" fmla="*/ 545308 h 2195513"/>
                <a:gd name="connsiteX4" fmla="*/ 945356 w 945356"/>
                <a:gd name="connsiteY4" fmla="*/ 2382 h 2195513"/>
                <a:gd name="connsiteX5" fmla="*/ 283369 w 945356"/>
                <a:gd name="connsiteY5" fmla="*/ 0 h 2195513"/>
                <a:gd name="connsiteX6" fmla="*/ 0 w 945356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252537 w 1252537"/>
                <a:gd name="connsiteY3" fmla="*/ 1333501 h 2195513"/>
                <a:gd name="connsiteX4" fmla="*/ 945356 w 1252537"/>
                <a:gd name="connsiteY4" fmla="*/ 2382 h 2195513"/>
                <a:gd name="connsiteX5" fmla="*/ 283369 w 1252537"/>
                <a:gd name="connsiteY5" fmla="*/ 0 h 2195513"/>
                <a:gd name="connsiteX6" fmla="*/ 0 w 1252537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31082 w 1252537"/>
                <a:gd name="connsiteY3" fmla="*/ 1112045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173957 w 1252537"/>
                <a:gd name="connsiteY4" fmla="*/ 1600202 h 2195513"/>
                <a:gd name="connsiteX5" fmla="*/ 1252537 w 1252537"/>
                <a:gd name="connsiteY5" fmla="*/ 1333501 h 2195513"/>
                <a:gd name="connsiteX6" fmla="*/ 945356 w 1252537"/>
                <a:gd name="connsiteY6" fmla="*/ 2382 h 2195513"/>
                <a:gd name="connsiteX7" fmla="*/ 283369 w 1252537"/>
                <a:gd name="connsiteY7" fmla="*/ 0 h 2195513"/>
                <a:gd name="connsiteX8" fmla="*/ 0 w 1252537"/>
                <a:gd name="connsiteY8" fmla="*/ 2195513 h 2195513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252537 w 1488282"/>
                <a:gd name="connsiteY5" fmla="*/ 1333501 h 2195514"/>
                <a:gd name="connsiteX6" fmla="*/ 945356 w 1488282"/>
                <a:gd name="connsiteY6" fmla="*/ 2382 h 2195514"/>
                <a:gd name="connsiteX7" fmla="*/ 283369 w 1488282"/>
                <a:gd name="connsiteY7" fmla="*/ 0 h 2195514"/>
                <a:gd name="connsiteX8" fmla="*/ 0 w 1488282"/>
                <a:gd name="connsiteY8" fmla="*/ 2195513 h 2195514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352549 w 1488282"/>
                <a:gd name="connsiteY5" fmla="*/ 1690688 h 2195514"/>
                <a:gd name="connsiteX6" fmla="*/ 1252537 w 1488282"/>
                <a:gd name="connsiteY6" fmla="*/ 1333501 h 2195514"/>
                <a:gd name="connsiteX7" fmla="*/ 945356 w 1488282"/>
                <a:gd name="connsiteY7" fmla="*/ 2382 h 2195514"/>
                <a:gd name="connsiteX8" fmla="*/ 283369 w 1488282"/>
                <a:gd name="connsiteY8" fmla="*/ 0 h 2195514"/>
                <a:gd name="connsiteX9" fmla="*/ 0 w 1488282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252537 w 1781174"/>
                <a:gd name="connsiteY6" fmla="*/ 1333501 h 2195514"/>
                <a:gd name="connsiteX7" fmla="*/ 945356 w 1781174"/>
                <a:gd name="connsiteY7" fmla="*/ 2382 h 2195514"/>
                <a:gd name="connsiteX8" fmla="*/ 283369 w 1781174"/>
                <a:gd name="connsiteY8" fmla="*/ 0 h 2195514"/>
                <a:gd name="connsiteX9" fmla="*/ 0 w 1781174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528762 w 1781174"/>
                <a:gd name="connsiteY6" fmla="*/ 1052513 h 2195514"/>
                <a:gd name="connsiteX7" fmla="*/ 1252537 w 1781174"/>
                <a:gd name="connsiteY7" fmla="*/ 1333501 h 2195514"/>
                <a:gd name="connsiteX8" fmla="*/ 945356 w 1781174"/>
                <a:gd name="connsiteY8" fmla="*/ 2382 h 2195514"/>
                <a:gd name="connsiteX9" fmla="*/ 283369 w 1781174"/>
                <a:gd name="connsiteY9" fmla="*/ 0 h 2195514"/>
                <a:gd name="connsiteX10" fmla="*/ 0 w 1781174"/>
                <a:gd name="connsiteY10" fmla="*/ 2195513 h 2195514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559719 w 1781174"/>
                <a:gd name="connsiteY6" fmla="*/ 0 h 2197895"/>
                <a:gd name="connsiteX7" fmla="*/ 1252537 w 1781174"/>
                <a:gd name="connsiteY7" fmla="*/ 1335882 h 2197895"/>
                <a:gd name="connsiteX8" fmla="*/ 945356 w 1781174"/>
                <a:gd name="connsiteY8" fmla="*/ 4763 h 2197895"/>
                <a:gd name="connsiteX9" fmla="*/ 283369 w 1781174"/>
                <a:gd name="connsiteY9" fmla="*/ 2381 h 2197895"/>
                <a:gd name="connsiteX10" fmla="*/ 0 w 1781174"/>
                <a:gd name="connsiteY10" fmla="*/ 2197894 h 2197895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688306 w 1781174"/>
                <a:gd name="connsiteY6" fmla="*/ 454820 h 2197895"/>
                <a:gd name="connsiteX7" fmla="*/ 1559719 w 1781174"/>
                <a:gd name="connsiteY7" fmla="*/ 0 h 2197895"/>
                <a:gd name="connsiteX8" fmla="*/ 1252537 w 1781174"/>
                <a:gd name="connsiteY8" fmla="*/ 1335882 h 2197895"/>
                <a:gd name="connsiteX9" fmla="*/ 945356 w 1781174"/>
                <a:gd name="connsiteY9" fmla="*/ 4763 h 2197895"/>
                <a:gd name="connsiteX10" fmla="*/ 283369 w 1781174"/>
                <a:gd name="connsiteY10" fmla="*/ 2381 h 2197895"/>
                <a:gd name="connsiteX11" fmla="*/ 0 w 1781174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212181 w 2212181"/>
                <a:gd name="connsiteY6" fmla="*/ 7145 h 2197895"/>
                <a:gd name="connsiteX7" fmla="*/ 1559719 w 2212181"/>
                <a:gd name="connsiteY7" fmla="*/ 0 h 2197895"/>
                <a:gd name="connsiteX8" fmla="*/ 1252537 w 2212181"/>
                <a:gd name="connsiteY8" fmla="*/ 1335882 h 2197895"/>
                <a:gd name="connsiteX9" fmla="*/ 945356 w 2212181"/>
                <a:gd name="connsiteY9" fmla="*/ 4763 h 2197895"/>
                <a:gd name="connsiteX10" fmla="*/ 283369 w 2212181"/>
                <a:gd name="connsiteY10" fmla="*/ 2381 h 2197895"/>
                <a:gd name="connsiteX11" fmla="*/ 0 w 2212181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035968 w 2212181"/>
                <a:gd name="connsiteY6" fmla="*/ 328614 h 2197895"/>
                <a:gd name="connsiteX7" fmla="*/ 2212181 w 2212181"/>
                <a:gd name="connsiteY7" fmla="*/ 7145 h 2197895"/>
                <a:gd name="connsiteX8" fmla="*/ 1559719 w 2212181"/>
                <a:gd name="connsiteY8" fmla="*/ 0 h 2197895"/>
                <a:gd name="connsiteX9" fmla="*/ 1252537 w 2212181"/>
                <a:gd name="connsiteY9" fmla="*/ 1335882 h 2197895"/>
                <a:gd name="connsiteX10" fmla="*/ 945356 w 2212181"/>
                <a:gd name="connsiteY10" fmla="*/ 4763 h 2197895"/>
                <a:gd name="connsiteX11" fmla="*/ 283369 w 2212181"/>
                <a:gd name="connsiteY11" fmla="*/ 2381 h 2197895"/>
                <a:gd name="connsiteX12" fmla="*/ 0 w 2212181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500312 w 2500312"/>
                <a:gd name="connsiteY6" fmla="*/ 2197895 h 2197895"/>
                <a:gd name="connsiteX7" fmla="*/ 2212181 w 2500312"/>
                <a:gd name="connsiteY7" fmla="*/ 7145 h 2197895"/>
                <a:gd name="connsiteX8" fmla="*/ 1559719 w 2500312"/>
                <a:gd name="connsiteY8" fmla="*/ 0 h 2197895"/>
                <a:gd name="connsiteX9" fmla="*/ 1252537 w 2500312"/>
                <a:gd name="connsiteY9" fmla="*/ 1335882 h 2197895"/>
                <a:gd name="connsiteX10" fmla="*/ 945356 w 2500312"/>
                <a:gd name="connsiteY10" fmla="*/ 4763 h 2197895"/>
                <a:gd name="connsiteX11" fmla="*/ 283369 w 2500312"/>
                <a:gd name="connsiteY11" fmla="*/ 2381 h 2197895"/>
                <a:gd name="connsiteX12" fmla="*/ 0 w 2500312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190748 w 2500312"/>
                <a:gd name="connsiteY6" fmla="*/ 1595439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76411 w 2500312"/>
                <a:gd name="connsiteY5" fmla="*/ 809626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00312" h="2197895">
                  <a:moveTo>
                    <a:pt x="0" y="2197894"/>
                  </a:moveTo>
                  <a:lnTo>
                    <a:pt x="611982" y="2197894"/>
                  </a:lnTo>
                  <a:lnTo>
                    <a:pt x="723900" y="802481"/>
                  </a:lnTo>
                  <a:lnTo>
                    <a:pt x="1007270" y="2195513"/>
                  </a:lnTo>
                  <a:lnTo>
                    <a:pt x="1488282" y="2197895"/>
                  </a:lnTo>
                  <a:lnTo>
                    <a:pt x="1776411" y="809626"/>
                  </a:lnTo>
                  <a:lnTo>
                    <a:pt x="1883567" y="2195514"/>
                  </a:lnTo>
                  <a:lnTo>
                    <a:pt x="2500312" y="2197895"/>
                  </a:lnTo>
                  <a:lnTo>
                    <a:pt x="2212181" y="7145"/>
                  </a:lnTo>
                  <a:lnTo>
                    <a:pt x="1559719" y="0"/>
                  </a:lnTo>
                  <a:lnTo>
                    <a:pt x="1252537" y="1335882"/>
                  </a:lnTo>
                  <a:lnTo>
                    <a:pt x="945356" y="4763"/>
                  </a:lnTo>
                  <a:lnTo>
                    <a:pt x="283369" y="2381"/>
                  </a:lnTo>
                  <a:lnTo>
                    <a:pt x="0" y="2197894"/>
                  </a:ln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0" name="Freeform 29"/>
            <p:cNvSpPr/>
            <p:nvPr userDrawn="1"/>
          </p:nvSpPr>
          <p:spPr>
            <a:xfrm>
              <a:off x="8342562" y="1763581"/>
              <a:ext cx="285565" cy="445289"/>
            </a:xfrm>
            <a:custGeom>
              <a:avLst/>
              <a:gdLst>
                <a:gd name="connsiteX0" fmla="*/ 0 w 1428750"/>
                <a:gd name="connsiteY0" fmla="*/ 997744 h 997744"/>
                <a:gd name="connsiteX1" fmla="*/ 1404937 w 1428750"/>
                <a:gd name="connsiteY1" fmla="*/ 997744 h 997744"/>
                <a:gd name="connsiteX2" fmla="*/ 1404937 w 1428750"/>
                <a:gd name="connsiteY2" fmla="*/ 538163 h 997744"/>
                <a:gd name="connsiteX3" fmla="*/ 1428750 w 1428750"/>
                <a:gd name="connsiteY3" fmla="*/ 540544 h 997744"/>
                <a:gd name="connsiteX4" fmla="*/ 590550 w 1428750"/>
                <a:gd name="connsiteY4" fmla="*/ 540544 h 997744"/>
                <a:gd name="connsiteX5" fmla="*/ 590550 w 1428750"/>
                <a:gd name="connsiteY5" fmla="*/ 0 h 997744"/>
                <a:gd name="connsiteX6" fmla="*/ 0 w 1428750"/>
                <a:gd name="connsiteY6" fmla="*/ 0 h 997744"/>
                <a:gd name="connsiteX7" fmla="*/ 0 w 1428750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1219200 w 1404937"/>
                <a:gd name="connsiteY3" fmla="*/ 476250 h 997744"/>
                <a:gd name="connsiteX4" fmla="*/ 590550 w 1404937"/>
                <a:gd name="connsiteY4" fmla="*/ 540544 h 997744"/>
                <a:gd name="connsiteX5" fmla="*/ 590550 w 1404937"/>
                <a:gd name="connsiteY5" fmla="*/ 0 h 997744"/>
                <a:gd name="connsiteX6" fmla="*/ 0 w 1404937"/>
                <a:gd name="connsiteY6" fmla="*/ 0 h 997744"/>
                <a:gd name="connsiteX7" fmla="*/ 0 w 1404937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590550 w 1404937"/>
                <a:gd name="connsiteY3" fmla="*/ 540544 h 997744"/>
                <a:gd name="connsiteX4" fmla="*/ 590550 w 1404937"/>
                <a:gd name="connsiteY4" fmla="*/ 0 h 997744"/>
                <a:gd name="connsiteX5" fmla="*/ 0 w 1404937"/>
                <a:gd name="connsiteY5" fmla="*/ 0 h 997744"/>
                <a:gd name="connsiteX6" fmla="*/ 0 w 1404937"/>
                <a:gd name="connsiteY6" fmla="*/ 997744 h 997744"/>
                <a:gd name="connsiteX0" fmla="*/ 0 w 1404937"/>
                <a:gd name="connsiteY0" fmla="*/ 1614488 h 1614488"/>
                <a:gd name="connsiteX1" fmla="*/ 1404937 w 1404937"/>
                <a:gd name="connsiteY1" fmla="*/ 1614488 h 1614488"/>
                <a:gd name="connsiteX2" fmla="*/ 1404937 w 1404937"/>
                <a:gd name="connsiteY2" fmla="*/ 1154907 h 1614488"/>
                <a:gd name="connsiteX3" fmla="*/ 590550 w 1404937"/>
                <a:gd name="connsiteY3" fmla="*/ 1157288 h 1614488"/>
                <a:gd name="connsiteX4" fmla="*/ 592931 w 1404937"/>
                <a:gd name="connsiteY4" fmla="*/ 0 h 1614488"/>
                <a:gd name="connsiteX5" fmla="*/ 0 w 1404937"/>
                <a:gd name="connsiteY5" fmla="*/ 616744 h 1614488"/>
                <a:gd name="connsiteX6" fmla="*/ 0 w 1404937"/>
                <a:gd name="connsiteY6" fmla="*/ 1614488 h 1614488"/>
                <a:gd name="connsiteX0" fmla="*/ 0 w 1404937"/>
                <a:gd name="connsiteY0" fmla="*/ 2188369 h 2188369"/>
                <a:gd name="connsiteX1" fmla="*/ 1404937 w 1404937"/>
                <a:gd name="connsiteY1" fmla="*/ 2188369 h 2188369"/>
                <a:gd name="connsiteX2" fmla="*/ 1404937 w 1404937"/>
                <a:gd name="connsiteY2" fmla="*/ 1728788 h 2188369"/>
                <a:gd name="connsiteX3" fmla="*/ 590550 w 1404937"/>
                <a:gd name="connsiteY3" fmla="*/ 1731169 h 2188369"/>
                <a:gd name="connsiteX4" fmla="*/ 592931 w 1404937"/>
                <a:gd name="connsiteY4" fmla="*/ 573881 h 2188369"/>
                <a:gd name="connsiteX5" fmla="*/ 2382 w 1404937"/>
                <a:gd name="connsiteY5" fmla="*/ 0 h 2188369"/>
                <a:gd name="connsiteX6" fmla="*/ 0 w 1404937"/>
                <a:gd name="connsiteY6" fmla="*/ 2188369 h 2188369"/>
                <a:gd name="connsiteX0" fmla="*/ 0 w 1404937"/>
                <a:gd name="connsiteY0" fmla="*/ 2190750 h 2190750"/>
                <a:gd name="connsiteX1" fmla="*/ 1404937 w 1404937"/>
                <a:gd name="connsiteY1" fmla="*/ 2190750 h 2190750"/>
                <a:gd name="connsiteX2" fmla="*/ 1404937 w 1404937"/>
                <a:gd name="connsiteY2" fmla="*/ 1731169 h 2190750"/>
                <a:gd name="connsiteX3" fmla="*/ 590550 w 1404937"/>
                <a:gd name="connsiteY3" fmla="*/ 1733550 h 2190750"/>
                <a:gd name="connsiteX4" fmla="*/ 592931 w 1404937"/>
                <a:gd name="connsiteY4" fmla="*/ 0 h 2190750"/>
                <a:gd name="connsiteX5" fmla="*/ 2382 w 1404937"/>
                <a:gd name="connsiteY5" fmla="*/ 2381 h 2190750"/>
                <a:gd name="connsiteX6" fmla="*/ 0 w 1404937"/>
                <a:gd name="connsiteY6" fmla="*/ 2190750 h 219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4937" h="2190750">
                  <a:moveTo>
                    <a:pt x="0" y="2190750"/>
                  </a:moveTo>
                  <a:lnTo>
                    <a:pt x="1404937" y="2190750"/>
                  </a:lnTo>
                  <a:lnTo>
                    <a:pt x="1404937" y="1731169"/>
                  </a:lnTo>
                  <a:lnTo>
                    <a:pt x="590550" y="1733550"/>
                  </a:lnTo>
                  <a:cubicBezTo>
                    <a:pt x="591344" y="1347787"/>
                    <a:pt x="592137" y="385763"/>
                    <a:pt x="592931" y="0"/>
                  </a:cubicBezTo>
                  <a:lnTo>
                    <a:pt x="2382" y="2381"/>
                  </a:lnTo>
                  <a:cubicBezTo>
                    <a:pt x="3969" y="334962"/>
                    <a:pt x="3175" y="1858169"/>
                    <a:pt x="0" y="2190750"/>
                  </a:cubicBez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1" name="Freeform 30"/>
            <p:cNvSpPr/>
            <p:nvPr userDrawn="1"/>
          </p:nvSpPr>
          <p:spPr>
            <a:xfrm>
              <a:off x="7402319" y="1852639"/>
              <a:ext cx="330600" cy="365922"/>
            </a:xfrm>
            <a:custGeom>
              <a:avLst/>
              <a:gdLst>
                <a:gd name="connsiteX0" fmla="*/ 0 w 483394"/>
                <a:gd name="connsiteY0" fmla="*/ 0 h 645319"/>
                <a:gd name="connsiteX1" fmla="*/ 0 w 483394"/>
                <a:gd name="connsiteY1" fmla="*/ 528638 h 645319"/>
                <a:gd name="connsiteX2" fmla="*/ 33338 w 483394"/>
                <a:gd name="connsiteY2" fmla="*/ 528638 h 645319"/>
                <a:gd name="connsiteX3" fmla="*/ 381000 w 483394"/>
                <a:gd name="connsiteY3" fmla="*/ 645319 h 645319"/>
                <a:gd name="connsiteX4" fmla="*/ 483394 w 483394"/>
                <a:gd name="connsiteY4" fmla="*/ 216694 h 645319"/>
                <a:gd name="connsiteX5" fmla="*/ 0 w 483394"/>
                <a:gd name="connsiteY5" fmla="*/ 0 h 645319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714375"/>
                <a:gd name="connsiteX1" fmla="*/ 0 w 1626394"/>
                <a:gd name="connsiteY1" fmla="*/ 528638 h 714375"/>
                <a:gd name="connsiteX2" fmla="*/ 354807 w 1626394"/>
                <a:gd name="connsiteY2" fmla="*/ 714375 h 714375"/>
                <a:gd name="connsiteX3" fmla="*/ 1626394 w 1626394"/>
                <a:gd name="connsiteY3" fmla="*/ 7144 h 714375"/>
                <a:gd name="connsiteX4" fmla="*/ 483394 w 1626394"/>
                <a:gd name="connsiteY4" fmla="*/ 216694 h 714375"/>
                <a:gd name="connsiteX5" fmla="*/ 0 w 1626394"/>
                <a:gd name="connsiteY5" fmla="*/ 0 h 714375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681404"/>
                <a:gd name="connsiteX1" fmla="*/ 0 w 1626394"/>
                <a:gd name="connsiteY1" fmla="*/ 528638 h 681404"/>
                <a:gd name="connsiteX2" fmla="*/ 1626394 w 1626394"/>
                <a:gd name="connsiteY2" fmla="*/ 7144 h 681404"/>
                <a:gd name="connsiteX3" fmla="*/ 483394 w 1626394"/>
                <a:gd name="connsiteY3" fmla="*/ 216694 h 681404"/>
                <a:gd name="connsiteX4" fmla="*/ 0 w 1626394"/>
                <a:gd name="connsiteY4" fmla="*/ 0 h 681404"/>
                <a:gd name="connsiteX0" fmla="*/ 0 w 1626394"/>
                <a:gd name="connsiteY0" fmla="*/ 0 h 661055"/>
                <a:gd name="connsiteX1" fmla="*/ 0 w 1626394"/>
                <a:gd name="connsiteY1" fmla="*/ 528638 h 661055"/>
                <a:gd name="connsiteX2" fmla="*/ 1626394 w 1626394"/>
                <a:gd name="connsiteY2" fmla="*/ 7144 h 661055"/>
                <a:gd name="connsiteX3" fmla="*/ 483394 w 1626394"/>
                <a:gd name="connsiteY3" fmla="*/ 216694 h 661055"/>
                <a:gd name="connsiteX4" fmla="*/ 0 w 1626394"/>
                <a:gd name="connsiteY4" fmla="*/ 0 h 661055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483394 w 1626394"/>
                <a:gd name="connsiteY3" fmla="*/ 216694 h 678971"/>
                <a:gd name="connsiteX4" fmla="*/ 0 w 1626394"/>
                <a:gd name="connsiteY4" fmla="*/ 0 h 678971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621506 w 1626394"/>
                <a:gd name="connsiteY3" fmla="*/ 233363 h 678971"/>
                <a:gd name="connsiteX4" fmla="*/ 0 w 1626394"/>
                <a:gd name="connsiteY4" fmla="*/ 0 h 67897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621506 w 1626394"/>
                <a:gd name="connsiteY3" fmla="*/ 238223 h 683831"/>
                <a:gd name="connsiteX4" fmla="*/ 0 w 1626394"/>
                <a:gd name="connsiteY4" fmla="*/ 4860 h 68383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1066800 w 1626394"/>
                <a:gd name="connsiteY3" fmla="*/ 135830 h 683831"/>
                <a:gd name="connsiteX4" fmla="*/ 621506 w 1626394"/>
                <a:gd name="connsiteY4" fmla="*/ 238223 h 683831"/>
                <a:gd name="connsiteX5" fmla="*/ 0 w 1626394"/>
                <a:gd name="connsiteY5" fmla="*/ 4860 h 683831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923925 w 1626394"/>
                <a:gd name="connsiteY3" fmla="*/ 0 h 790888"/>
                <a:gd name="connsiteX4" fmla="*/ 621506 w 1626394"/>
                <a:gd name="connsiteY4" fmla="*/ 345280 h 790888"/>
                <a:gd name="connsiteX5" fmla="*/ 0 w 1626394"/>
                <a:gd name="connsiteY5" fmla="*/ 111917 h 790888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1059656 w 1626394"/>
                <a:gd name="connsiteY3" fmla="*/ 23812 h 790888"/>
                <a:gd name="connsiteX4" fmla="*/ 923925 w 1626394"/>
                <a:gd name="connsiteY4" fmla="*/ 0 h 790888"/>
                <a:gd name="connsiteX5" fmla="*/ 621506 w 1626394"/>
                <a:gd name="connsiteY5" fmla="*/ 345280 h 790888"/>
                <a:gd name="connsiteX6" fmla="*/ 0 w 1626394"/>
                <a:gd name="connsiteY6" fmla="*/ 111917 h 790888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35310"/>
                <a:gd name="connsiteY0" fmla="*/ 538161 h 1066802"/>
                <a:gd name="connsiteX1" fmla="*/ 0 w 1635310"/>
                <a:gd name="connsiteY1" fmla="*/ 1066799 h 1066802"/>
                <a:gd name="connsiteX2" fmla="*/ 1626394 w 1635310"/>
                <a:gd name="connsiteY2" fmla="*/ 545305 h 1066802"/>
                <a:gd name="connsiteX3" fmla="*/ 1323974 w 1635310"/>
                <a:gd name="connsiteY3" fmla="*/ 0 h 1066802"/>
                <a:gd name="connsiteX4" fmla="*/ 923925 w 1635310"/>
                <a:gd name="connsiteY4" fmla="*/ 426244 h 1066802"/>
                <a:gd name="connsiteX5" fmla="*/ 621506 w 1635310"/>
                <a:gd name="connsiteY5" fmla="*/ 771524 h 1066802"/>
                <a:gd name="connsiteX6" fmla="*/ 0 w 1635310"/>
                <a:gd name="connsiteY6" fmla="*/ 538161 h 1066802"/>
                <a:gd name="connsiteX0" fmla="*/ 0 w 1632620"/>
                <a:gd name="connsiteY0" fmla="*/ 538161 h 1083110"/>
                <a:gd name="connsiteX1" fmla="*/ 0 w 1632620"/>
                <a:gd name="connsiteY1" fmla="*/ 1066799 h 1083110"/>
                <a:gd name="connsiteX2" fmla="*/ 1626394 w 1632620"/>
                <a:gd name="connsiteY2" fmla="*/ 545305 h 1083110"/>
                <a:gd name="connsiteX3" fmla="*/ 1323974 w 1632620"/>
                <a:gd name="connsiteY3" fmla="*/ 0 h 1083110"/>
                <a:gd name="connsiteX4" fmla="*/ 923925 w 1632620"/>
                <a:gd name="connsiteY4" fmla="*/ 426244 h 1083110"/>
                <a:gd name="connsiteX5" fmla="*/ 621506 w 1632620"/>
                <a:gd name="connsiteY5" fmla="*/ 771524 h 1083110"/>
                <a:gd name="connsiteX6" fmla="*/ 0 w 1632620"/>
                <a:gd name="connsiteY6" fmla="*/ 538161 h 1083110"/>
                <a:gd name="connsiteX0" fmla="*/ 0 w 1638832"/>
                <a:gd name="connsiteY0" fmla="*/ 538161 h 1079262"/>
                <a:gd name="connsiteX1" fmla="*/ 0 w 1638832"/>
                <a:gd name="connsiteY1" fmla="*/ 1066799 h 1079262"/>
                <a:gd name="connsiteX2" fmla="*/ 1626394 w 1638832"/>
                <a:gd name="connsiteY2" fmla="*/ 545305 h 1079262"/>
                <a:gd name="connsiteX3" fmla="*/ 1323974 w 1638832"/>
                <a:gd name="connsiteY3" fmla="*/ 0 h 1079262"/>
                <a:gd name="connsiteX4" fmla="*/ 923925 w 1638832"/>
                <a:gd name="connsiteY4" fmla="*/ 426244 h 1079262"/>
                <a:gd name="connsiteX5" fmla="*/ 621506 w 1638832"/>
                <a:gd name="connsiteY5" fmla="*/ 771524 h 1079262"/>
                <a:gd name="connsiteX6" fmla="*/ 0 w 1638832"/>
                <a:gd name="connsiteY6" fmla="*/ 538161 h 1079262"/>
                <a:gd name="connsiteX0" fmla="*/ 0 w 1629379"/>
                <a:gd name="connsiteY0" fmla="*/ 538161 h 1066897"/>
                <a:gd name="connsiteX1" fmla="*/ 0 w 1629379"/>
                <a:gd name="connsiteY1" fmla="*/ 1066799 h 1066897"/>
                <a:gd name="connsiteX2" fmla="*/ 1616869 w 1629379"/>
                <a:gd name="connsiteY2" fmla="*/ 409574 h 1066897"/>
                <a:gd name="connsiteX3" fmla="*/ 1323974 w 1629379"/>
                <a:gd name="connsiteY3" fmla="*/ 0 h 1066897"/>
                <a:gd name="connsiteX4" fmla="*/ 923925 w 1629379"/>
                <a:gd name="connsiteY4" fmla="*/ 426244 h 1066897"/>
                <a:gd name="connsiteX5" fmla="*/ 621506 w 1629379"/>
                <a:gd name="connsiteY5" fmla="*/ 771524 h 1066897"/>
                <a:gd name="connsiteX6" fmla="*/ 0 w 1629379"/>
                <a:gd name="connsiteY6" fmla="*/ 538161 h 1066897"/>
                <a:gd name="connsiteX0" fmla="*/ 0 w 1620913"/>
                <a:gd name="connsiteY0" fmla="*/ 538161 h 1107877"/>
                <a:gd name="connsiteX1" fmla="*/ 0 w 1620913"/>
                <a:gd name="connsiteY1" fmla="*/ 1066799 h 1107877"/>
                <a:gd name="connsiteX2" fmla="*/ 1616869 w 1620913"/>
                <a:gd name="connsiteY2" fmla="*/ 409574 h 1107877"/>
                <a:gd name="connsiteX3" fmla="*/ 1323974 w 1620913"/>
                <a:gd name="connsiteY3" fmla="*/ 0 h 1107877"/>
                <a:gd name="connsiteX4" fmla="*/ 923925 w 1620913"/>
                <a:gd name="connsiteY4" fmla="*/ 426244 h 1107877"/>
                <a:gd name="connsiteX5" fmla="*/ 621506 w 1620913"/>
                <a:gd name="connsiteY5" fmla="*/ 771524 h 1107877"/>
                <a:gd name="connsiteX6" fmla="*/ 0 w 1620913"/>
                <a:gd name="connsiteY6" fmla="*/ 538161 h 1107877"/>
                <a:gd name="connsiteX0" fmla="*/ 0 w 1620913"/>
                <a:gd name="connsiteY0" fmla="*/ 538161 h 1218265"/>
                <a:gd name="connsiteX1" fmla="*/ 0 w 1620913"/>
                <a:gd name="connsiteY1" fmla="*/ 1066799 h 1218265"/>
                <a:gd name="connsiteX2" fmla="*/ 1616869 w 1620913"/>
                <a:gd name="connsiteY2" fmla="*/ 409574 h 1218265"/>
                <a:gd name="connsiteX3" fmla="*/ 1323974 w 1620913"/>
                <a:gd name="connsiteY3" fmla="*/ 0 h 1218265"/>
                <a:gd name="connsiteX4" fmla="*/ 923925 w 1620913"/>
                <a:gd name="connsiteY4" fmla="*/ 426244 h 1218265"/>
                <a:gd name="connsiteX5" fmla="*/ 621506 w 1620913"/>
                <a:gd name="connsiteY5" fmla="*/ 771524 h 1218265"/>
                <a:gd name="connsiteX6" fmla="*/ 0 w 1620913"/>
                <a:gd name="connsiteY6" fmla="*/ 538161 h 1218265"/>
                <a:gd name="connsiteX0" fmla="*/ 0 w 1620913"/>
                <a:gd name="connsiteY0" fmla="*/ 538161 h 1066799"/>
                <a:gd name="connsiteX1" fmla="*/ 0 w 1620913"/>
                <a:gd name="connsiteY1" fmla="*/ 1066799 h 1066799"/>
                <a:gd name="connsiteX2" fmla="*/ 1616869 w 1620913"/>
                <a:gd name="connsiteY2" fmla="*/ 409574 h 1066799"/>
                <a:gd name="connsiteX3" fmla="*/ 1323974 w 1620913"/>
                <a:gd name="connsiteY3" fmla="*/ 0 h 1066799"/>
                <a:gd name="connsiteX4" fmla="*/ 923925 w 1620913"/>
                <a:gd name="connsiteY4" fmla="*/ 426244 h 1066799"/>
                <a:gd name="connsiteX5" fmla="*/ 621506 w 1620913"/>
                <a:gd name="connsiteY5" fmla="*/ 771524 h 1066799"/>
                <a:gd name="connsiteX6" fmla="*/ 0 w 1620913"/>
                <a:gd name="connsiteY6" fmla="*/ 538161 h 1066799"/>
                <a:gd name="connsiteX0" fmla="*/ 0 w 1620913"/>
                <a:gd name="connsiteY0" fmla="*/ 538161 h 1213299"/>
                <a:gd name="connsiteX1" fmla="*/ 0 w 1620913"/>
                <a:gd name="connsiteY1" fmla="*/ 1066799 h 1213299"/>
                <a:gd name="connsiteX2" fmla="*/ 1616869 w 1620913"/>
                <a:gd name="connsiteY2" fmla="*/ 409574 h 1213299"/>
                <a:gd name="connsiteX3" fmla="*/ 1323974 w 1620913"/>
                <a:gd name="connsiteY3" fmla="*/ 0 h 1213299"/>
                <a:gd name="connsiteX4" fmla="*/ 923925 w 1620913"/>
                <a:gd name="connsiteY4" fmla="*/ 426244 h 1213299"/>
                <a:gd name="connsiteX5" fmla="*/ 621506 w 1620913"/>
                <a:gd name="connsiteY5" fmla="*/ 771524 h 1213299"/>
                <a:gd name="connsiteX6" fmla="*/ 0 w 1620913"/>
                <a:gd name="connsiteY6" fmla="*/ 538161 h 121329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32881"/>
                <a:gd name="connsiteY0" fmla="*/ 538161 h 1232035"/>
                <a:gd name="connsiteX1" fmla="*/ 0 w 1632881"/>
                <a:gd name="connsiteY1" fmla="*/ 1066799 h 1232035"/>
                <a:gd name="connsiteX2" fmla="*/ 1621631 w 1632881"/>
                <a:gd name="connsiteY2" fmla="*/ 523874 h 1232035"/>
                <a:gd name="connsiteX3" fmla="*/ 1323974 w 1632881"/>
                <a:gd name="connsiteY3" fmla="*/ 0 h 1232035"/>
                <a:gd name="connsiteX4" fmla="*/ 923925 w 1632881"/>
                <a:gd name="connsiteY4" fmla="*/ 426244 h 1232035"/>
                <a:gd name="connsiteX5" fmla="*/ 621506 w 1632881"/>
                <a:gd name="connsiteY5" fmla="*/ 771524 h 1232035"/>
                <a:gd name="connsiteX6" fmla="*/ 0 w 1632881"/>
                <a:gd name="connsiteY6" fmla="*/ 538161 h 1232035"/>
                <a:gd name="connsiteX0" fmla="*/ 0 w 1622936"/>
                <a:gd name="connsiteY0" fmla="*/ 538161 h 1236750"/>
                <a:gd name="connsiteX1" fmla="*/ 0 w 1622936"/>
                <a:gd name="connsiteY1" fmla="*/ 1066799 h 1236750"/>
                <a:gd name="connsiteX2" fmla="*/ 1621631 w 1622936"/>
                <a:gd name="connsiteY2" fmla="*/ 523874 h 1236750"/>
                <a:gd name="connsiteX3" fmla="*/ 1323974 w 1622936"/>
                <a:gd name="connsiteY3" fmla="*/ 0 h 1236750"/>
                <a:gd name="connsiteX4" fmla="*/ 923925 w 1622936"/>
                <a:gd name="connsiteY4" fmla="*/ 426244 h 1236750"/>
                <a:gd name="connsiteX5" fmla="*/ 621506 w 1622936"/>
                <a:gd name="connsiteY5" fmla="*/ 771524 h 1236750"/>
                <a:gd name="connsiteX6" fmla="*/ 0 w 1622936"/>
                <a:gd name="connsiteY6" fmla="*/ 538161 h 1236750"/>
                <a:gd name="connsiteX0" fmla="*/ 0 w 1627932"/>
                <a:gd name="connsiteY0" fmla="*/ 538161 h 1227283"/>
                <a:gd name="connsiteX1" fmla="*/ 0 w 1627932"/>
                <a:gd name="connsiteY1" fmla="*/ 1066799 h 1227283"/>
                <a:gd name="connsiteX2" fmla="*/ 1621631 w 1627932"/>
                <a:gd name="connsiteY2" fmla="*/ 523874 h 1227283"/>
                <a:gd name="connsiteX3" fmla="*/ 1323974 w 1627932"/>
                <a:gd name="connsiteY3" fmla="*/ 0 h 1227283"/>
                <a:gd name="connsiteX4" fmla="*/ 923925 w 1627932"/>
                <a:gd name="connsiteY4" fmla="*/ 426244 h 1227283"/>
                <a:gd name="connsiteX5" fmla="*/ 621506 w 1627932"/>
                <a:gd name="connsiteY5" fmla="*/ 771524 h 1227283"/>
                <a:gd name="connsiteX6" fmla="*/ 0 w 1627932"/>
                <a:gd name="connsiteY6" fmla="*/ 538161 h 1227283"/>
                <a:gd name="connsiteX0" fmla="*/ 0 w 1627932"/>
                <a:gd name="connsiteY0" fmla="*/ 538161 h 1066799"/>
                <a:gd name="connsiteX1" fmla="*/ 0 w 1627932"/>
                <a:gd name="connsiteY1" fmla="*/ 1066799 h 1066799"/>
                <a:gd name="connsiteX2" fmla="*/ 1621631 w 1627932"/>
                <a:gd name="connsiteY2" fmla="*/ 523874 h 1066799"/>
                <a:gd name="connsiteX3" fmla="*/ 1323974 w 1627932"/>
                <a:gd name="connsiteY3" fmla="*/ 0 h 1066799"/>
                <a:gd name="connsiteX4" fmla="*/ 923925 w 1627932"/>
                <a:gd name="connsiteY4" fmla="*/ 426244 h 1066799"/>
                <a:gd name="connsiteX5" fmla="*/ 621506 w 1627932"/>
                <a:gd name="connsiteY5" fmla="*/ 771524 h 1066799"/>
                <a:gd name="connsiteX6" fmla="*/ 0 w 1627932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134969"/>
                <a:gd name="connsiteX1" fmla="*/ 0 w 1627647"/>
                <a:gd name="connsiteY1" fmla="*/ 1066799 h 1134969"/>
                <a:gd name="connsiteX2" fmla="*/ 1621631 w 1627647"/>
                <a:gd name="connsiteY2" fmla="*/ 523874 h 1134969"/>
                <a:gd name="connsiteX3" fmla="*/ 1323974 w 1627647"/>
                <a:gd name="connsiteY3" fmla="*/ 0 h 1134969"/>
                <a:gd name="connsiteX4" fmla="*/ 923925 w 1627647"/>
                <a:gd name="connsiteY4" fmla="*/ 426244 h 1134969"/>
                <a:gd name="connsiteX5" fmla="*/ 621506 w 1627647"/>
                <a:gd name="connsiteY5" fmla="*/ 771524 h 1134969"/>
                <a:gd name="connsiteX6" fmla="*/ 0 w 1627647"/>
                <a:gd name="connsiteY6" fmla="*/ 538161 h 1134969"/>
                <a:gd name="connsiteX0" fmla="*/ 0 w 1627647"/>
                <a:gd name="connsiteY0" fmla="*/ 538161 h 1213483"/>
                <a:gd name="connsiteX1" fmla="*/ 0 w 1627647"/>
                <a:gd name="connsiteY1" fmla="*/ 1066799 h 1213483"/>
                <a:gd name="connsiteX2" fmla="*/ 1621631 w 1627647"/>
                <a:gd name="connsiteY2" fmla="*/ 523874 h 1213483"/>
                <a:gd name="connsiteX3" fmla="*/ 1323974 w 1627647"/>
                <a:gd name="connsiteY3" fmla="*/ 0 h 1213483"/>
                <a:gd name="connsiteX4" fmla="*/ 923925 w 1627647"/>
                <a:gd name="connsiteY4" fmla="*/ 426244 h 1213483"/>
                <a:gd name="connsiteX5" fmla="*/ 621506 w 1627647"/>
                <a:gd name="connsiteY5" fmla="*/ 771524 h 1213483"/>
                <a:gd name="connsiteX6" fmla="*/ 0 w 1627647"/>
                <a:gd name="connsiteY6" fmla="*/ 538161 h 1213483"/>
                <a:gd name="connsiteX0" fmla="*/ 0 w 1627647"/>
                <a:gd name="connsiteY0" fmla="*/ 538161 h 1190326"/>
                <a:gd name="connsiteX1" fmla="*/ 0 w 1627647"/>
                <a:gd name="connsiteY1" fmla="*/ 1066799 h 1190326"/>
                <a:gd name="connsiteX2" fmla="*/ 1621631 w 1627647"/>
                <a:gd name="connsiteY2" fmla="*/ 523874 h 1190326"/>
                <a:gd name="connsiteX3" fmla="*/ 1323974 w 1627647"/>
                <a:gd name="connsiteY3" fmla="*/ 0 h 1190326"/>
                <a:gd name="connsiteX4" fmla="*/ 923925 w 1627647"/>
                <a:gd name="connsiteY4" fmla="*/ 426244 h 1190326"/>
                <a:gd name="connsiteX5" fmla="*/ 621506 w 1627647"/>
                <a:gd name="connsiteY5" fmla="*/ 771524 h 1190326"/>
                <a:gd name="connsiteX6" fmla="*/ 0 w 1627647"/>
                <a:gd name="connsiteY6" fmla="*/ 538161 h 1190326"/>
                <a:gd name="connsiteX0" fmla="*/ 0 w 1627647"/>
                <a:gd name="connsiteY0" fmla="*/ 538161 h 1219698"/>
                <a:gd name="connsiteX1" fmla="*/ 0 w 1627647"/>
                <a:gd name="connsiteY1" fmla="*/ 1066799 h 1219698"/>
                <a:gd name="connsiteX2" fmla="*/ 1621631 w 1627647"/>
                <a:gd name="connsiteY2" fmla="*/ 523874 h 1219698"/>
                <a:gd name="connsiteX3" fmla="*/ 1323974 w 1627647"/>
                <a:gd name="connsiteY3" fmla="*/ 0 h 1219698"/>
                <a:gd name="connsiteX4" fmla="*/ 923925 w 1627647"/>
                <a:gd name="connsiteY4" fmla="*/ 426244 h 1219698"/>
                <a:gd name="connsiteX5" fmla="*/ 621506 w 1627647"/>
                <a:gd name="connsiteY5" fmla="*/ 771524 h 1219698"/>
                <a:gd name="connsiteX6" fmla="*/ 0 w 1627647"/>
                <a:gd name="connsiteY6" fmla="*/ 538161 h 1219698"/>
                <a:gd name="connsiteX0" fmla="*/ 0 w 1627647"/>
                <a:gd name="connsiteY0" fmla="*/ 538161 h 1232307"/>
                <a:gd name="connsiteX1" fmla="*/ 0 w 1627647"/>
                <a:gd name="connsiteY1" fmla="*/ 1066799 h 1232307"/>
                <a:gd name="connsiteX2" fmla="*/ 1621631 w 1627647"/>
                <a:gd name="connsiteY2" fmla="*/ 523874 h 1232307"/>
                <a:gd name="connsiteX3" fmla="*/ 1323974 w 1627647"/>
                <a:gd name="connsiteY3" fmla="*/ 0 h 1232307"/>
                <a:gd name="connsiteX4" fmla="*/ 923925 w 1627647"/>
                <a:gd name="connsiteY4" fmla="*/ 426244 h 1232307"/>
                <a:gd name="connsiteX5" fmla="*/ 621506 w 1627647"/>
                <a:gd name="connsiteY5" fmla="*/ 771524 h 1232307"/>
                <a:gd name="connsiteX6" fmla="*/ 0 w 1627647"/>
                <a:gd name="connsiteY6" fmla="*/ 538161 h 1232307"/>
                <a:gd name="connsiteX0" fmla="*/ 0 w 1627647"/>
                <a:gd name="connsiteY0" fmla="*/ 538161 h 1217230"/>
                <a:gd name="connsiteX1" fmla="*/ 0 w 1627647"/>
                <a:gd name="connsiteY1" fmla="*/ 1066799 h 1217230"/>
                <a:gd name="connsiteX2" fmla="*/ 1621631 w 1627647"/>
                <a:gd name="connsiteY2" fmla="*/ 523874 h 1217230"/>
                <a:gd name="connsiteX3" fmla="*/ 1323974 w 1627647"/>
                <a:gd name="connsiteY3" fmla="*/ 0 h 1217230"/>
                <a:gd name="connsiteX4" fmla="*/ 923925 w 1627647"/>
                <a:gd name="connsiteY4" fmla="*/ 426244 h 1217230"/>
                <a:gd name="connsiteX5" fmla="*/ 621506 w 1627647"/>
                <a:gd name="connsiteY5" fmla="*/ 771524 h 1217230"/>
                <a:gd name="connsiteX6" fmla="*/ 0 w 1627647"/>
                <a:gd name="connsiteY6" fmla="*/ 538161 h 1217230"/>
                <a:gd name="connsiteX0" fmla="*/ 0 w 1627647"/>
                <a:gd name="connsiteY0" fmla="*/ 538161 h 1188997"/>
                <a:gd name="connsiteX1" fmla="*/ 0 w 1627647"/>
                <a:gd name="connsiteY1" fmla="*/ 1066799 h 1188997"/>
                <a:gd name="connsiteX2" fmla="*/ 1621631 w 1627647"/>
                <a:gd name="connsiteY2" fmla="*/ 523874 h 1188997"/>
                <a:gd name="connsiteX3" fmla="*/ 1323974 w 1627647"/>
                <a:gd name="connsiteY3" fmla="*/ 0 h 1188997"/>
                <a:gd name="connsiteX4" fmla="*/ 923925 w 1627647"/>
                <a:gd name="connsiteY4" fmla="*/ 426244 h 1188997"/>
                <a:gd name="connsiteX5" fmla="*/ 621506 w 1627647"/>
                <a:gd name="connsiteY5" fmla="*/ 771524 h 1188997"/>
                <a:gd name="connsiteX6" fmla="*/ 0 w 1627647"/>
                <a:gd name="connsiteY6" fmla="*/ 538161 h 1188997"/>
                <a:gd name="connsiteX0" fmla="*/ 0 w 1627647"/>
                <a:gd name="connsiteY0" fmla="*/ 538161 h 1216261"/>
                <a:gd name="connsiteX1" fmla="*/ 0 w 1627647"/>
                <a:gd name="connsiteY1" fmla="*/ 1066799 h 1216261"/>
                <a:gd name="connsiteX2" fmla="*/ 1621631 w 1627647"/>
                <a:gd name="connsiteY2" fmla="*/ 523874 h 1216261"/>
                <a:gd name="connsiteX3" fmla="*/ 1323974 w 1627647"/>
                <a:gd name="connsiteY3" fmla="*/ 0 h 1216261"/>
                <a:gd name="connsiteX4" fmla="*/ 923925 w 1627647"/>
                <a:gd name="connsiteY4" fmla="*/ 426244 h 1216261"/>
                <a:gd name="connsiteX5" fmla="*/ 621506 w 1627647"/>
                <a:gd name="connsiteY5" fmla="*/ 771524 h 1216261"/>
                <a:gd name="connsiteX6" fmla="*/ 0 w 1627647"/>
                <a:gd name="connsiteY6" fmla="*/ 538161 h 1216261"/>
                <a:gd name="connsiteX0" fmla="*/ 0 w 1627647"/>
                <a:gd name="connsiteY0" fmla="*/ 538161 h 1206398"/>
                <a:gd name="connsiteX1" fmla="*/ 0 w 1627647"/>
                <a:gd name="connsiteY1" fmla="*/ 1066799 h 1206398"/>
                <a:gd name="connsiteX2" fmla="*/ 1621631 w 1627647"/>
                <a:gd name="connsiteY2" fmla="*/ 523874 h 1206398"/>
                <a:gd name="connsiteX3" fmla="*/ 1323974 w 1627647"/>
                <a:gd name="connsiteY3" fmla="*/ 0 h 1206398"/>
                <a:gd name="connsiteX4" fmla="*/ 923925 w 1627647"/>
                <a:gd name="connsiteY4" fmla="*/ 426244 h 1206398"/>
                <a:gd name="connsiteX5" fmla="*/ 621506 w 1627647"/>
                <a:gd name="connsiteY5" fmla="*/ 771524 h 1206398"/>
                <a:gd name="connsiteX6" fmla="*/ 0 w 1627647"/>
                <a:gd name="connsiteY6" fmla="*/ 538161 h 1206398"/>
                <a:gd name="connsiteX0" fmla="*/ 0 w 1627647"/>
                <a:gd name="connsiteY0" fmla="*/ 538161 h 1218880"/>
                <a:gd name="connsiteX1" fmla="*/ 0 w 1627647"/>
                <a:gd name="connsiteY1" fmla="*/ 1066799 h 1218880"/>
                <a:gd name="connsiteX2" fmla="*/ 1621631 w 1627647"/>
                <a:gd name="connsiteY2" fmla="*/ 523874 h 1218880"/>
                <a:gd name="connsiteX3" fmla="*/ 1323974 w 1627647"/>
                <a:gd name="connsiteY3" fmla="*/ 0 h 1218880"/>
                <a:gd name="connsiteX4" fmla="*/ 923925 w 1627647"/>
                <a:gd name="connsiteY4" fmla="*/ 426244 h 1218880"/>
                <a:gd name="connsiteX5" fmla="*/ 621506 w 1627647"/>
                <a:gd name="connsiteY5" fmla="*/ 771524 h 1218880"/>
                <a:gd name="connsiteX6" fmla="*/ 0 w 1627647"/>
                <a:gd name="connsiteY6" fmla="*/ 538161 h 1218880"/>
                <a:gd name="connsiteX0" fmla="*/ 0 w 1627647"/>
                <a:gd name="connsiteY0" fmla="*/ 538161 h 1211596"/>
                <a:gd name="connsiteX1" fmla="*/ 0 w 1627647"/>
                <a:gd name="connsiteY1" fmla="*/ 1066799 h 1211596"/>
                <a:gd name="connsiteX2" fmla="*/ 1621631 w 1627647"/>
                <a:gd name="connsiteY2" fmla="*/ 523874 h 1211596"/>
                <a:gd name="connsiteX3" fmla="*/ 1323974 w 1627647"/>
                <a:gd name="connsiteY3" fmla="*/ 0 h 1211596"/>
                <a:gd name="connsiteX4" fmla="*/ 923925 w 1627647"/>
                <a:gd name="connsiteY4" fmla="*/ 426244 h 1211596"/>
                <a:gd name="connsiteX5" fmla="*/ 621506 w 1627647"/>
                <a:gd name="connsiteY5" fmla="*/ 771524 h 1211596"/>
                <a:gd name="connsiteX6" fmla="*/ 0 w 1627647"/>
                <a:gd name="connsiteY6" fmla="*/ 538161 h 1211596"/>
                <a:gd name="connsiteX0" fmla="*/ 0 w 1627647"/>
                <a:gd name="connsiteY0" fmla="*/ 538161 h 1217962"/>
                <a:gd name="connsiteX1" fmla="*/ 0 w 1627647"/>
                <a:gd name="connsiteY1" fmla="*/ 1066799 h 1217962"/>
                <a:gd name="connsiteX2" fmla="*/ 1621631 w 1627647"/>
                <a:gd name="connsiteY2" fmla="*/ 523874 h 1217962"/>
                <a:gd name="connsiteX3" fmla="*/ 1323974 w 1627647"/>
                <a:gd name="connsiteY3" fmla="*/ 0 h 1217962"/>
                <a:gd name="connsiteX4" fmla="*/ 923925 w 1627647"/>
                <a:gd name="connsiteY4" fmla="*/ 426244 h 1217962"/>
                <a:gd name="connsiteX5" fmla="*/ 621506 w 1627647"/>
                <a:gd name="connsiteY5" fmla="*/ 771524 h 1217962"/>
                <a:gd name="connsiteX6" fmla="*/ 0 w 1627647"/>
                <a:gd name="connsiteY6" fmla="*/ 538161 h 1217962"/>
                <a:gd name="connsiteX0" fmla="*/ 0 w 1627647"/>
                <a:gd name="connsiteY0" fmla="*/ 538161 h 1218399"/>
                <a:gd name="connsiteX1" fmla="*/ 0 w 1627647"/>
                <a:gd name="connsiteY1" fmla="*/ 1066799 h 1218399"/>
                <a:gd name="connsiteX2" fmla="*/ 1621631 w 1627647"/>
                <a:gd name="connsiteY2" fmla="*/ 523874 h 1218399"/>
                <a:gd name="connsiteX3" fmla="*/ 1323974 w 1627647"/>
                <a:gd name="connsiteY3" fmla="*/ 0 h 1218399"/>
                <a:gd name="connsiteX4" fmla="*/ 923925 w 1627647"/>
                <a:gd name="connsiteY4" fmla="*/ 426244 h 1218399"/>
                <a:gd name="connsiteX5" fmla="*/ 621506 w 1627647"/>
                <a:gd name="connsiteY5" fmla="*/ 771524 h 1218399"/>
                <a:gd name="connsiteX6" fmla="*/ 0 w 1627647"/>
                <a:gd name="connsiteY6" fmla="*/ 538161 h 121839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23925 w 1627647"/>
                <a:gd name="connsiteY4" fmla="*/ 426244 h 1212839"/>
                <a:gd name="connsiteX5" fmla="*/ 621506 w 1627647"/>
                <a:gd name="connsiteY5" fmla="*/ 771524 h 1212839"/>
                <a:gd name="connsiteX6" fmla="*/ 0 w 1627647"/>
                <a:gd name="connsiteY6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1078707 w 1627647"/>
                <a:gd name="connsiteY4" fmla="*/ 257177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595313 w 1627647"/>
                <a:gd name="connsiteY4" fmla="*/ 185739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73932 w 1627647"/>
                <a:gd name="connsiteY4" fmla="*/ 85727 h 1212839"/>
                <a:gd name="connsiteX5" fmla="*/ 595313 w 1627647"/>
                <a:gd name="connsiteY5" fmla="*/ 185739 h 1212839"/>
                <a:gd name="connsiteX6" fmla="*/ 923925 w 1627647"/>
                <a:gd name="connsiteY6" fmla="*/ 426244 h 1212839"/>
                <a:gd name="connsiteX7" fmla="*/ 621506 w 1627647"/>
                <a:gd name="connsiteY7" fmla="*/ 771524 h 1212839"/>
                <a:gd name="connsiteX8" fmla="*/ 0 w 1627647"/>
                <a:gd name="connsiteY8" fmla="*/ 538161 h 1212839"/>
                <a:gd name="connsiteX0" fmla="*/ 0 w 1627647"/>
                <a:gd name="connsiteY0" fmla="*/ 745328 h 1420006"/>
                <a:gd name="connsiteX1" fmla="*/ 0 w 1627647"/>
                <a:gd name="connsiteY1" fmla="*/ 1273966 h 1420006"/>
                <a:gd name="connsiteX2" fmla="*/ 1621631 w 1627647"/>
                <a:gd name="connsiteY2" fmla="*/ 731041 h 1420006"/>
                <a:gd name="connsiteX3" fmla="*/ 1323974 w 1627647"/>
                <a:gd name="connsiteY3" fmla="*/ 207167 h 1420006"/>
                <a:gd name="connsiteX4" fmla="*/ 835820 w 1627647"/>
                <a:gd name="connsiteY4" fmla="*/ 0 h 1420006"/>
                <a:gd name="connsiteX5" fmla="*/ 595313 w 1627647"/>
                <a:gd name="connsiteY5" fmla="*/ 392906 h 1420006"/>
                <a:gd name="connsiteX6" fmla="*/ 923925 w 1627647"/>
                <a:gd name="connsiteY6" fmla="*/ 633411 h 1420006"/>
                <a:gd name="connsiteX7" fmla="*/ 621506 w 1627647"/>
                <a:gd name="connsiteY7" fmla="*/ 978691 h 1420006"/>
                <a:gd name="connsiteX8" fmla="*/ 0 w 1627647"/>
                <a:gd name="connsiteY8" fmla="*/ 745328 h 1420006"/>
                <a:gd name="connsiteX0" fmla="*/ 0 w 1591281"/>
                <a:gd name="connsiteY0" fmla="*/ 745328 h 1469663"/>
                <a:gd name="connsiteX1" fmla="*/ 0 w 1591281"/>
                <a:gd name="connsiteY1" fmla="*/ 1273966 h 1469663"/>
                <a:gd name="connsiteX2" fmla="*/ 1574006 w 1591281"/>
                <a:gd name="connsiteY2" fmla="*/ 928685 h 1469663"/>
                <a:gd name="connsiteX3" fmla="*/ 1323974 w 1591281"/>
                <a:gd name="connsiteY3" fmla="*/ 207167 h 1469663"/>
                <a:gd name="connsiteX4" fmla="*/ 835820 w 1591281"/>
                <a:gd name="connsiteY4" fmla="*/ 0 h 1469663"/>
                <a:gd name="connsiteX5" fmla="*/ 595313 w 1591281"/>
                <a:gd name="connsiteY5" fmla="*/ 392906 h 1469663"/>
                <a:gd name="connsiteX6" fmla="*/ 923925 w 1591281"/>
                <a:gd name="connsiteY6" fmla="*/ 633411 h 1469663"/>
                <a:gd name="connsiteX7" fmla="*/ 621506 w 1591281"/>
                <a:gd name="connsiteY7" fmla="*/ 978691 h 1469663"/>
                <a:gd name="connsiteX8" fmla="*/ 0 w 1591281"/>
                <a:gd name="connsiteY8" fmla="*/ 745328 h 1469663"/>
                <a:gd name="connsiteX0" fmla="*/ 0 w 1591281"/>
                <a:gd name="connsiteY0" fmla="*/ 745328 h 1425021"/>
                <a:gd name="connsiteX1" fmla="*/ 0 w 1591281"/>
                <a:gd name="connsiteY1" fmla="*/ 1273966 h 1425021"/>
                <a:gd name="connsiteX2" fmla="*/ 1574006 w 1591281"/>
                <a:gd name="connsiteY2" fmla="*/ 928685 h 1425021"/>
                <a:gd name="connsiteX3" fmla="*/ 1323974 w 1591281"/>
                <a:gd name="connsiteY3" fmla="*/ 207167 h 1425021"/>
                <a:gd name="connsiteX4" fmla="*/ 835820 w 1591281"/>
                <a:gd name="connsiteY4" fmla="*/ 0 h 1425021"/>
                <a:gd name="connsiteX5" fmla="*/ 595313 w 1591281"/>
                <a:gd name="connsiteY5" fmla="*/ 392906 h 1425021"/>
                <a:gd name="connsiteX6" fmla="*/ 923925 w 1591281"/>
                <a:gd name="connsiteY6" fmla="*/ 633411 h 1425021"/>
                <a:gd name="connsiteX7" fmla="*/ 621506 w 1591281"/>
                <a:gd name="connsiteY7" fmla="*/ 978691 h 1425021"/>
                <a:gd name="connsiteX8" fmla="*/ 0 w 1591281"/>
                <a:gd name="connsiteY8" fmla="*/ 745328 h 1425021"/>
                <a:gd name="connsiteX0" fmla="*/ 0 w 1622856"/>
                <a:gd name="connsiteY0" fmla="*/ 745328 h 1425021"/>
                <a:gd name="connsiteX1" fmla="*/ 0 w 1622856"/>
                <a:gd name="connsiteY1" fmla="*/ 1273966 h 1425021"/>
                <a:gd name="connsiteX2" fmla="*/ 1574006 w 1622856"/>
                <a:gd name="connsiteY2" fmla="*/ 928685 h 1425021"/>
                <a:gd name="connsiteX3" fmla="*/ 1323974 w 1622856"/>
                <a:gd name="connsiteY3" fmla="*/ 207167 h 1425021"/>
                <a:gd name="connsiteX4" fmla="*/ 835820 w 1622856"/>
                <a:gd name="connsiteY4" fmla="*/ 0 h 1425021"/>
                <a:gd name="connsiteX5" fmla="*/ 595313 w 1622856"/>
                <a:gd name="connsiteY5" fmla="*/ 392906 h 1425021"/>
                <a:gd name="connsiteX6" fmla="*/ 923925 w 1622856"/>
                <a:gd name="connsiteY6" fmla="*/ 633411 h 1425021"/>
                <a:gd name="connsiteX7" fmla="*/ 621506 w 1622856"/>
                <a:gd name="connsiteY7" fmla="*/ 978691 h 1425021"/>
                <a:gd name="connsiteX8" fmla="*/ 0 w 1622856"/>
                <a:gd name="connsiteY8" fmla="*/ 745328 h 1425021"/>
                <a:gd name="connsiteX0" fmla="*/ 0 w 1608710"/>
                <a:gd name="connsiteY0" fmla="*/ 745328 h 1425021"/>
                <a:gd name="connsiteX1" fmla="*/ 0 w 1608710"/>
                <a:gd name="connsiteY1" fmla="*/ 1273966 h 1425021"/>
                <a:gd name="connsiteX2" fmla="*/ 1574006 w 1608710"/>
                <a:gd name="connsiteY2" fmla="*/ 928685 h 1425021"/>
                <a:gd name="connsiteX3" fmla="*/ 1264443 w 1608710"/>
                <a:gd name="connsiteY3" fmla="*/ 166686 h 1425021"/>
                <a:gd name="connsiteX4" fmla="*/ 835820 w 1608710"/>
                <a:gd name="connsiteY4" fmla="*/ 0 h 1425021"/>
                <a:gd name="connsiteX5" fmla="*/ 595313 w 1608710"/>
                <a:gd name="connsiteY5" fmla="*/ 392906 h 1425021"/>
                <a:gd name="connsiteX6" fmla="*/ 923925 w 1608710"/>
                <a:gd name="connsiteY6" fmla="*/ 633411 h 1425021"/>
                <a:gd name="connsiteX7" fmla="*/ 621506 w 1608710"/>
                <a:gd name="connsiteY7" fmla="*/ 978691 h 1425021"/>
                <a:gd name="connsiteX8" fmla="*/ 0 w 1608710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709613 w 1623138"/>
                <a:gd name="connsiteY5" fmla="*/ 207169 h 1425021"/>
                <a:gd name="connsiteX6" fmla="*/ 595313 w 1623138"/>
                <a:gd name="connsiteY6" fmla="*/ 392906 h 1425021"/>
                <a:gd name="connsiteX7" fmla="*/ 923925 w 1623138"/>
                <a:gd name="connsiteY7" fmla="*/ 633411 h 1425021"/>
                <a:gd name="connsiteX8" fmla="*/ 621506 w 1623138"/>
                <a:gd name="connsiteY8" fmla="*/ 978691 h 1425021"/>
                <a:gd name="connsiteX9" fmla="*/ 0 w 1623138"/>
                <a:gd name="connsiteY9" fmla="*/ 745328 h 1425021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421482 w 1623138"/>
                <a:gd name="connsiteY5" fmla="*/ 0 h 1477409"/>
                <a:gd name="connsiteX6" fmla="*/ 595313 w 1623138"/>
                <a:gd name="connsiteY6" fmla="*/ 445294 h 1477409"/>
                <a:gd name="connsiteX7" fmla="*/ 923925 w 1623138"/>
                <a:gd name="connsiteY7" fmla="*/ 685799 h 1477409"/>
                <a:gd name="connsiteX8" fmla="*/ 621506 w 1623138"/>
                <a:gd name="connsiteY8" fmla="*/ 1031079 h 1477409"/>
                <a:gd name="connsiteX9" fmla="*/ 0 w 1623138"/>
                <a:gd name="connsiteY9" fmla="*/ 797716 h 1477409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654844 w 1623138"/>
                <a:gd name="connsiteY5" fmla="*/ 26194 h 1477409"/>
                <a:gd name="connsiteX6" fmla="*/ 421482 w 1623138"/>
                <a:gd name="connsiteY6" fmla="*/ 0 h 1477409"/>
                <a:gd name="connsiteX7" fmla="*/ 595313 w 1623138"/>
                <a:gd name="connsiteY7" fmla="*/ 445294 h 1477409"/>
                <a:gd name="connsiteX8" fmla="*/ 923925 w 1623138"/>
                <a:gd name="connsiteY8" fmla="*/ 685799 h 1477409"/>
                <a:gd name="connsiteX9" fmla="*/ 621506 w 1623138"/>
                <a:gd name="connsiteY9" fmla="*/ 1031079 h 1477409"/>
                <a:gd name="connsiteX10" fmla="*/ 0 w 1623138"/>
                <a:gd name="connsiteY10" fmla="*/ 797716 h 1477409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652572"/>
                <a:gd name="connsiteX1" fmla="*/ 0 w 1623138"/>
                <a:gd name="connsiteY1" fmla="*/ 1647822 h 1652572"/>
                <a:gd name="connsiteX2" fmla="*/ 1574006 w 1623138"/>
                <a:gd name="connsiteY2" fmla="*/ 1302541 h 1652572"/>
                <a:gd name="connsiteX3" fmla="*/ 1264443 w 1623138"/>
                <a:gd name="connsiteY3" fmla="*/ 540542 h 1652572"/>
                <a:gd name="connsiteX4" fmla="*/ 835820 w 1623138"/>
                <a:gd name="connsiteY4" fmla="*/ 373856 h 1652572"/>
                <a:gd name="connsiteX5" fmla="*/ 807244 w 1623138"/>
                <a:gd name="connsiteY5" fmla="*/ 0 h 1652572"/>
                <a:gd name="connsiteX6" fmla="*/ 421482 w 1623138"/>
                <a:gd name="connsiteY6" fmla="*/ 321468 h 1652572"/>
                <a:gd name="connsiteX7" fmla="*/ 595313 w 1623138"/>
                <a:gd name="connsiteY7" fmla="*/ 766762 h 1652572"/>
                <a:gd name="connsiteX8" fmla="*/ 923925 w 1623138"/>
                <a:gd name="connsiteY8" fmla="*/ 1007267 h 1652572"/>
                <a:gd name="connsiteX9" fmla="*/ 621506 w 1623138"/>
                <a:gd name="connsiteY9" fmla="*/ 1352547 h 1652572"/>
                <a:gd name="connsiteX10" fmla="*/ 0 w 1623138"/>
                <a:gd name="connsiteY10" fmla="*/ 1119184 h 1652572"/>
                <a:gd name="connsiteX0" fmla="*/ 0 w 1627271"/>
                <a:gd name="connsiteY0" fmla="*/ 1119184 h 1712926"/>
                <a:gd name="connsiteX1" fmla="*/ 0 w 1627271"/>
                <a:gd name="connsiteY1" fmla="*/ 1647822 h 1712926"/>
                <a:gd name="connsiteX2" fmla="*/ 1574006 w 1627271"/>
                <a:gd name="connsiteY2" fmla="*/ 1302541 h 1712926"/>
                <a:gd name="connsiteX3" fmla="*/ 1264443 w 1627271"/>
                <a:gd name="connsiteY3" fmla="*/ 540542 h 1712926"/>
                <a:gd name="connsiteX4" fmla="*/ 835820 w 1627271"/>
                <a:gd name="connsiteY4" fmla="*/ 373856 h 1712926"/>
                <a:gd name="connsiteX5" fmla="*/ 807244 w 1627271"/>
                <a:gd name="connsiteY5" fmla="*/ 0 h 1712926"/>
                <a:gd name="connsiteX6" fmla="*/ 421482 w 1627271"/>
                <a:gd name="connsiteY6" fmla="*/ 321468 h 1712926"/>
                <a:gd name="connsiteX7" fmla="*/ 595313 w 1627271"/>
                <a:gd name="connsiteY7" fmla="*/ 766762 h 1712926"/>
                <a:gd name="connsiteX8" fmla="*/ 923925 w 1627271"/>
                <a:gd name="connsiteY8" fmla="*/ 1007267 h 1712926"/>
                <a:gd name="connsiteX9" fmla="*/ 621506 w 1627271"/>
                <a:gd name="connsiteY9" fmla="*/ 1352547 h 1712926"/>
                <a:gd name="connsiteX10" fmla="*/ 0 w 1627271"/>
                <a:gd name="connsiteY10" fmla="*/ 1119184 h 1712926"/>
                <a:gd name="connsiteX0" fmla="*/ 0 w 1627271"/>
                <a:gd name="connsiteY0" fmla="*/ 1119184 h 1797816"/>
                <a:gd name="connsiteX1" fmla="*/ 0 w 1627271"/>
                <a:gd name="connsiteY1" fmla="*/ 1647822 h 1797816"/>
                <a:gd name="connsiteX2" fmla="*/ 1574006 w 1627271"/>
                <a:gd name="connsiteY2" fmla="*/ 1302541 h 1797816"/>
                <a:gd name="connsiteX3" fmla="*/ 1264443 w 1627271"/>
                <a:gd name="connsiteY3" fmla="*/ 540542 h 1797816"/>
                <a:gd name="connsiteX4" fmla="*/ 835820 w 1627271"/>
                <a:gd name="connsiteY4" fmla="*/ 373856 h 1797816"/>
                <a:gd name="connsiteX5" fmla="*/ 807244 w 1627271"/>
                <a:gd name="connsiteY5" fmla="*/ 0 h 1797816"/>
                <a:gd name="connsiteX6" fmla="*/ 421482 w 1627271"/>
                <a:gd name="connsiteY6" fmla="*/ 321468 h 1797816"/>
                <a:gd name="connsiteX7" fmla="*/ 595313 w 1627271"/>
                <a:gd name="connsiteY7" fmla="*/ 766762 h 1797816"/>
                <a:gd name="connsiteX8" fmla="*/ 923925 w 1627271"/>
                <a:gd name="connsiteY8" fmla="*/ 1007267 h 1797816"/>
                <a:gd name="connsiteX9" fmla="*/ 621506 w 1627271"/>
                <a:gd name="connsiteY9" fmla="*/ 1352547 h 1797816"/>
                <a:gd name="connsiteX10" fmla="*/ 0 w 1627271"/>
                <a:gd name="connsiteY10" fmla="*/ 1119184 h 1797816"/>
                <a:gd name="connsiteX0" fmla="*/ 0 w 1622231"/>
                <a:gd name="connsiteY0" fmla="*/ 1119184 h 1773253"/>
                <a:gd name="connsiteX1" fmla="*/ 0 w 1622231"/>
                <a:gd name="connsiteY1" fmla="*/ 1647822 h 1773253"/>
                <a:gd name="connsiteX2" fmla="*/ 1574006 w 1622231"/>
                <a:gd name="connsiteY2" fmla="*/ 1302541 h 1773253"/>
                <a:gd name="connsiteX3" fmla="*/ 1264443 w 1622231"/>
                <a:gd name="connsiteY3" fmla="*/ 540542 h 1773253"/>
                <a:gd name="connsiteX4" fmla="*/ 835820 w 1622231"/>
                <a:gd name="connsiteY4" fmla="*/ 373856 h 1773253"/>
                <a:gd name="connsiteX5" fmla="*/ 807244 w 1622231"/>
                <a:gd name="connsiteY5" fmla="*/ 0 h 1773253"/>
                <a:gd name="connsiteX6" fmla="*/ 421482 w 1622231"/>
                <a:gd name="connsiteY6" fmla="*/ 321468 h 1773253"/>
                <a:gd name="connsiteX7" fmla="*/ 595313 w 1622231"/>
                <a:gd name="connsiteY7" fmla="*/ 766762 h 1773253"/>
                <a:gd name="connsiteX8" fmla="*/ 923925 w 1622231"/>
                <a:gd name="connsiteY8" fmla="*/ 1007267 h 1773253"/>
                <a:gd name="connsiteX9" fmla="*/ 621506 w 1622231"/>
                <a:gd name="connsiteY9" fmla="*/ 1352547 h 1773253"/>
                <a:gd name="connsiteX10" fmla="*/ 0 w 1622231"/>
                <a:gd name="connsiteY10" fmla="*/ 1119184 h 1773253"/>
                <a:gd name="connsiteX0" fmla="*/ 0 w 1622231"/>
                <a:gd name="connsiteY0" fmla="*/ 1119184 h 1800701"/>
                <a:gd name="connsiteX1" fmla="*/ 0 w 1622231"/>
                <a:gd name="connsiteY1" fmla="*/ 1647822 h 1800701"/>
                <a:gd name="connsiteX2" fmla="*/ 1574006 w 1622231"/>
                <a:gd name="connsiteY2" fmla="*/ 1302541 h 1800701"/>
                <a:gd name="connsiteX3" fmla="*/ 1264443 w 1622231"/>
                <a:gd name="connsiteY3" fmla="*/ 540542 h 1800701"/>
                <a:gd name="connsiteX4" fmla="*/ 835820 w 1622231"/>
                <a:gd name="connsiteY4" fmla="*/ 373856 h 1800701"/>
                <a:gd name="connsiteX5" fmla="*/ 807244 w 1622231"/>
                <a:gd name="connsiteY5" fmla="*/ 0 h 1800701"/>
                <a:gd name="connsiteX6" fmla="*/ 421482 w 1622231"/>
                <a:gd name="connsiteY6" fmla="*/ 321468 h 1800701"/>
                <a:gd name="connsiteX7" fmla="*/ 595313 w 1622231"/>
                <a:gd name="connsiteY7" fmla="*/ 766762 h 1800701"/>
                <a:gd name="connsiteX8" fmla="*/ 923925 w 1622231"/>
                <a:gd name="connsiteY8" fmla="*/ 1007267 h 1800701"/>
                <a:gd name="connsiteX9" fmla="*/ 621506 w 1622231"/>
                <a:gd name="connsiteY9" fmla="*/ 1352547 h 1800701"/>
                <a:gd name="connsiteX10" fmla="*/ 0 w 1622231"/>
                <a:gd name="connsiteY10" fmla="*/ 1119184 h 1800701"/>
                <a:gd name="connsiteX0" fmla="*/ 0 w 1552023"/>
                <a:gd name="connsiteY0" fmla="*/ 1119184 h 1859749"/>
                <a:gd name="connsiteX1" fmla="*/ 0 w 1552023"/>
                <a:gd name="connsiteY1" fmla="*/ 1647822 h 1859749"/>
                <a:gd name="connsiteX2" fmla="*/ 1462087 w 1552023"/>
                <a:gd name="connsiteY2" fmla="*/ 1469229 h 1859749"/>
                <a:gd name="connsiteX3" fmla="*/ 1264443 w 1552023"/>
                <a:gd name="connsiteY3" fmla="*/ 540542 h 1859749"/>
                <a:gd name="connsiteX4" fmla="*/ 835820 w 1552023"/>
                <a:gd name="connsiteY4" fmla="*/ 373856 h 1859749"/>
                <a:gd name="connsiteX5" fmla="*/ 807244 w 1552023"/>
                <a:gd name="connsiteY5" fmla="*/ 0 h 1859749"/>
                <a:gd name="connsiteX6" fmla="*/ 421482 w 1552023"/>
                <a:gd name="connsiteY6" fmla="*/ 321468 h 1859749"/>
                <a:gd name="connsiteX7" fmla="*/ 595313 w 1552023"/>
                <a:gd name="connsiteY7" fmla="*/ 766762 h 1859749"/>
                <a:gd name="connsiteX8" fmla="*/ 923925 w 1552023"/>
                <a:gd name="connsiteY8" fmla="*/ 1007267 h 1859749"/>
                <a:gd name="connsiteX9" fmla="*/ 621506 w 1552023"/>
                <a:gd name="connsiteY9" fmla="*/ 1352547 h 1859749"/>
                <a:gd name="connsiteX10" fmla="*/ 0 w 1552023"/>
                <a:gd name="connsiteY10" fmla="*/ 1119184 h 1859749"/>
                <a:gd name="connsiteX0" fmla="*/ 0 w 1571973"/>
                <a:gd name="connsiteY0" fmla="*/ 1119184 h 1800114"/>
                <a:gd name="connsiteX1" fmla="*/ 0 w 1571973"/>
                <a:gd name="connsiteY1" fmla="*/ 1647822 h 1800114"/>
                <a:gd name="connsiteX2" fmla="*/ 1462087 w 1571973"/>
                <a:gd name="connsiteY2" fmla="*/ 1469229 h 1800114"/>
                <a:gd name="connsiteX3" fmla="*/ 1264443 w 1571973"/>
                <a:gd name="connsiteY3" fmla="*/ 540542 h 1800114"/>
                <a:gd name="connsiteX4" fmla="*/ 835820 w 1571973"/>
                <a:gd name="connsiteY4" fmla="*/ 373856 h 1800114"/>
                <a:gd name="connsiteX5" fmla="*/ 807244 w 1571973"/>
                <a:gd name="connsiteY5" fmla="*/ 0 h 1800114"/>
                <a:gd name="connsiteX6" fmla="*/ 421482 w 1571973"/>
                <a:gd name="connsiteY6" fmla="*/ 321468 h 1800114"/>
                <a:gd name="connsiteX7" fmla="*/ 595313 w 1571973"/>
                <a:gd name="connsiteY7" fmla="*/ 766762 h 1800114"/>
                <a:gd name="connsiteX8" fmla="*/ 923925 w 1571973"/>
                <a:gd name="connsiteY8" fmla="*/ 1007267 h 1800114"/>
                <a:gd name="connsiteX9" fmla="*/ 621506 w 1571973"/>
                <a:gd name="connsiteY9" fmla="*/ 1352547 h 1800114"/>
                <a:gd name="connsiteX10" fmla="*/ 0 w 1571973"/>
                <a:gd name="connsiteY10" fmla="*/ 1119184 h 1800114"/>
                <a:gd name="connsiteX0" fmla="*/ 0 w 1620477"/>
                <a:gd name="connsiteY0" fmla="*/ 1119184 h 1800815"/>
                <a:gd name="connsiteX1" fmla="*/ 0 w 1620477"/>
                <a:gd name="connsiteY1" fmla="*/ 1647822 h 1800815"/>
                <a:gd name="connsiteX2" fmla="*/ 1462087 w 1620477"/>
                <a:gd name="connsiteY2" fmla="*/ 1469229 h 1800815"/>
                <a:gd name="connsiteX3" fmla="*/ 1264443 w 1620477"/>
                <a:gd name="connsiteY3" fmla="*/ 540542 h 1800815"/>
                <a:gd name="connsiteX4" fmla="*/ 835820 w 1620477"/>
                <a:gd name="connsiteY4" fmla="*/ 373856 h 1800815"/>
                <a:gd name="connsiteX5" fmla="*/ 807244 w 1620477"/>
                <a:gd name="connsiteY5" fmla="*/ 0 h 1800815"/>
                <a:gd name="connsiteX6" fmla="*/ 421482 w 1620477"/>
                <a:gd name="connsiteY6" fmla="*/ 321468 h 1800815"/>
                <a:gd name="connsiteX7" fmla="*/ 595313 w 1620477"/>
                <a:gd name="connsiteY7" fmla="*/ 766762 h 1800815"/>
                <a:gd name="connsiteX8" fmla="*/ 923925 w 1620477"/>
                <a:gd name="connsiteY8" fmla="*/ 1007267 h 1800815"/>
                <a:gd name="connsiteX9" fmla="*/ 621506 w 1620477"/>
                <a:gd name="connsiteY9" fmla="*/ 1352547 h 1800815"/>
                <a:gd name="connsiteX10" fmla="*/ 0 w 1620477"/>
                <a:gd name="connsiteY10" fmla="*/ 1119184 h 1800815"/>
                <a:gd name="connsiteX0" fmla="*/ 0 w 1629436"/>
                <a:gd name="connsiteY0" fmla="*/ 1119184 h 1799377"/>
                <a:gd name="connsiteX1" fmla="*/ 0 w 1629436"/>
                <a:gd name="connsiteY1" fmla="*/ 1647822 h 1799377"/>
                <a:gd name="connsiteX2" fmla="*/ 1476374 w 1629436"/>
                <a:gd name="connsiteY2" fmla="*/ 1464467 h 1799377"/>
                <a:gd name="connsiteX3" fmla="*/ 1264443 w 1629436"/>
                <a:gd name="connsiteY3" fmla="*/ 540542 h 1799377"/>
                <a:gd name="connsiteX4" fmla="*/ 835820 w 1629436"/>
                <a:gd name="connsiteY4" fmla="*/ 373856 h 1799377"/>
                <a:gd name="connsiteX5" fmla="*/ 807244 w 1629436"/>
                <a:gd name="connsiteY5" fmla="*/ 0 h 1799377"/>
                <a:gd name="connsiteX6" fmla="*/ 421482 w 1629436"/>
                <a:gd name="connsiteY6" fmla="*/ 321468 h 1799377"/>
                <a:gd name="connsiteX7" fmla="*/ 595313 w 1629436"/>
                <a:gd name="connsiteY7" fmla="*/ 766762 h 1799377"/>
                <a:gd name="connsiteX8" fmla="*/ 923925 w 1629436"/>
                <a:gd name="connsiteY8" fmla="*/ 1007267 h 1799377"/>
                <a:gd name="connsiteX9" fmla="*/ 621506 w 1629436"/>
                <a:gd name="connsiteY9" fmla="*/ 1352547 h 1799377"/>
                <a:gd name="connsiteX10" fmla="*/ 0 w 1629436"/>
                <a:gd name="connsiteY10" fmla="*/ 1119184 h 1799377"/>
                <a:gd name="connsiteX0" fmla="*/ 0 w 1606110"/>
                <a:gd name="connsiteY0" fmla="*/ 1119184 h 1796213"/>
                <a:gd name="connsiteX1" fmla="*/ 0 w 1606110"/>
                <a:gd name="connsiteY1" fmla="*/ 1647822 h 1796213"/>
                <a:gd name="connsiteX2" fmla="*/ 1476374 w 1606110"/>
                <a:gd name="connsiteY2" fmla="*/ 1464467 h 1796213"/>
                <a:gd name="connsiteX3" fmla="*/ 1264443 w 1606110"/>
                <a:gd name="connsiteY3" fmla="*/ 540542 h 1796213"/>
                <a:gd name="connsiteX4" fmla="*/ 835820 w 1606110"/>
                <a:gd name="connsiteY4" fmla="*/ 373856 h 1796213"/>
                <a:gd name="connsiteX5" fmla="*/ 807244 w 1606110"/>
                <a:gd name="connsiteY5" fmla="*/ 0 h 1796213"/>
                <a:gd name="connsiteX6" fmla="*/ 421482 w 1606110"/>
                <a:gd name="connsiteY6" fmla="*/ 321468 h 1796213"/>
                <a:gd name="connsiteX7" fmla="*/ 595313 w 1606110"/>
                <a:gd name="connsiteY7" fmla="*/ 766762 h 1796213"/>
                <a:gd name="connsiteX8" fmla="*/ 923925 w 1606110"/>
                <a:gd name="connsiteY8" fmla="*/ 1007267 h 1796213"/>
                <a:gd name="connsiteX9" fmla="*/ 621506 w 1606110"/>
                <a:gd name="connsiteY9" fmla="*/ 1352547 h 1796213"/>
                <a:gd name="connsiteX10" fmla="*/ 0 w 1606110"/>
                <a:gd name="connsiteY10" fmla="*/ 1119184 h 1796213"/>
                <a:gd name="connsiteX0" fmla="*/ 0 w 1625337"/>
                <a:gd name="connsiteY0" fmla="*/ 1119184 h 1796213"/>
                <a:gd name="connsiteX1" fmla="*/ 0 w 1625337"/>
                <a:gd name="connsiteY1" fmla="*/ 1647822 h 1796213"/>
                <a:gd name="connsiteX2" fmla="*/ 1476374 w 1625337"/>
                <a:gd name="connsiteY2" fmla="*/ 1464467 h 1796213"/>
                <a:gd name="connsiteX3" fmla="*/ 1264443 w 1625337"/>
                <a:gd name="connsiteY3" fmla="*/ 540542 h 1796213"/>
                <a:gd name="connsiteX4" fmla="*/ 835820 w 1625337"/>
                <a:gd name="connsiteY4" fmla="*/ 373856 h 1796213"/>
                <a:gd name="connsiteX5" fmla="*/ 807244 w 1625337"/>
                <a:gd name="connsiteY5" fmla="*/ 0 h 1796213"/>
                <a:gd name="connsiteX6" fmla="*/ 421482 w 1625337"/>
                <a:gd name="connsiteY6" fmla="*/ 321468 h 1796213"/>
                <a:gd name="connsiteX7" fmla="*/ 595313 w 1625337"/>
                <a:gd name="connsiteY7" fmla="*/ 766762 h 1796213"/>
                <a:gd name="connsiteX8" fmla="*/ 923925 w 1625337"/>
                <a:gd name="connsiteY8" fmla="*/ 1007267 h 1796213"/>
                <a:gd name="connsiteX9" fmla="*/ 621506 w 1625337"/>
                <a:gd name="connsiteY9" fmla="*/ 1352547 h 1796213"/>
                <a:gd name="connsiteX10" fmla="*/ 0 w 1625337"/>
                <a:gd name="connsiteY10" fmla="*/ 1119184 h 1796213"/>
                <a:gd name="connsiteX0" fmla="*/ 0 w 1625337"/>
                <a:gd name="connsiteY0" fmla="*/ 1119184 h 1803595"/>
                <a:gd name="connsiteX1" fmla="*/ 0 w 1625337"/>
                <a:gd name="connsiteY1" fmla="*/ 1647822 h 1803595"/>
                <a:gd name="connsiteX2" fmla="*/ 1476374 w 1625337"/>
                <a:gd name="connsiteY2" fmla="*/ 1464467 h 1803595"/>
                <a:gd name="connsiteX3" fmla="*/ 1264443 w 1625337"/>
                <a:gd name="connsiteY3" fmla="*/ 540542 h 1803595"/>
                <a:gd name="connsiteX4" fmla="*/ 835820 w 1625337"/>
                <a:gd name="connsiteY4" fmla="*/ 373856 h 1803595"/>
                <a:gd name="connsiteX5" fmla="*/ 807244 w 1625337"/>
                <a:gd name="connsiteY5" fmla="*/ 0 h 1803595"/>
                <a:gd name="connsiteX6" fmla="*/ 421482 w 1625337"/>
                <a:gd name="connsiteY6" fmla="*/ 321468 h 1803595"/>
                <a:gd name="connsiteX7" fmla="*/ 595313 w 1625337"/>
                <a:gd name="connsiteY7" fmla="*/ 766762 h 1803595"/>
                <a:gd name="connsiteX8" fmla="*/ 923925 w 1625337"/>
                <a:gd name="connsiteY8" fmla="*/ 1007267 h 1803595"/>
                <a:gd name="connsiteX9" fmla="*/ 621506 w 1625337"/>
                <a:gd name="connsiteY9" fmla="*/ 1352547 h 1803595"/>
                <a:gd name="connsiteX10" fmla="*/ 0 w 1625337"/>
                <a:gd name="connsiteY10" fmla="*/ 1119184 h 1803595"/>
                <a:gd name="connsiteX0" fmla="*/ 0 w 1625337"/>
                <a:gd name="connsiteY0" fmla="*/ 1119184 h 1799376"/>
                <a:gd name="connsiteX1" fmla="*/ 0 w 1625337"/>
                <a:gd name="connsiteY1" fmla="*/ 1647822 h 1799376"/>
                <a:gd name="connsiteX2" fmla="*/ 1476374 w 1625337"/>
                <a:gd name="connsiteY2" fmla="*/ 1464467 h 1799376"/>
                <a:gd name="connsiteX3" fmla="*/ 1264443 w 1625337"/>
                <a:gd name="connsiteY3" fmla="*/ 540542 h 1799376"/>
                <a:gd name="connsiteX4" fmla="*/ 835820 w 1625337"/>
                <a:gd name="connsiteY4" fmla="*/ 373856 h 1799376"/>
                <a:gd name="connsiteX5" fmla="*/ 807244 w 1625337"/>
                <a:gd name="connsiteY5" fmla="*/ 0 h 1799376"/>
                <a:gd name="connsiteX6" fmla="*/ 421482 w 1625337"/>
                <a:gd name="connsiteY6" fmla="*/ 321468 h 1799376"/>
                <a:gd name="connsiteX7" fmla="*/ 595313 w 1625337"/>
                <a:gd name="connsiteY7" fmla="*/ 766762 h 1799376"/>
                <a:gd name="connsiteX8" fmla="*/ 923925 w 1625337"/>
                <a:gd name="connsiteY8" fmla="*/ 1007267 h 1799376"/>
                <a:gd name="connsiteX9" fmla="*/ 621506 w 1625337"/>
                <a:gd name="connsiteY9" fmla="*/ 1352547 h 1799376"/>
                <a:gd name="connsiteX10" fmla="*/ 0 w 1625337"/>
                <a:gd name="connsiteY10" fmla="*/ 1119184 h 1799376"/>
                <a:gd name="connsiteX0" fmla="*/ 0 w 1635914"/>
                <a:gd name="connsiteY0" fmla="*/ 1119184 h 1799376"/>
                <a:gd name="connsiteX1" fmla="*/ 0 w 1635914"/>
                <a:gd name="connsiteY1" fmla="*/ 1647822 h 1799376"/>
                <a:gd name="connsiteX2" fmla="*/ 1476374 w 1635914"/>
                <a:gd name="connsiteY2" fmla="*/ 1464467 h 1799376"/>
                <a:gd name="connsiteX3" fmla="*/ 1264443 w 1635914"/>
                <a:gd name="connsiteY3" fmla="*/ 540542 h 1799376"/>
                <a:gd name="connsiteX4" fmla="*/ 835820 w 1635914"/>
                <a:gd name="connsiteY4" fmla="*/ 373856 h 1799376"/>
                <a:gd name="connsiteX5" fmla="*/ 807244 w 1635914"/>
                <a:gd name="connsiteY5" fmla="*/ 0 h 1799376"/>
                <a:gd name="connsiteX6" fmla="*/ 421482 w 1635914"/>
                <a:gd name="connsiteY6" fmla="*/ 321468 h 1799376"/>
                <a:gd name="connsiteX7" fmla="*/ 595313 w 1635914"/>
                <a:gd name="connsiteY7" fmla="*/ 766762 h 1799376"/>
                <a:gd name="connsiteX8" fmla="*/ 923925 w 1635914"/>
                <a:gd name="connsiteY8" fmla="*/ 1007267 h 1799376"/>
                <a:gd name="connsiteX9" fmla="*/ 621506 w 1635914"/>
                <a:gd name="connsiteY9" fmla="*/ 1352547 h 1799376"/>
                <a:gd name="connsiteX10" fmla="*/ 0 w 1635914"/>
                <a:gd name="connsiteY10" fmla="*/ 1119184 h 1799376"/>
                <a:gd name="connsiteX0" fmla="*/ 0 w 1720482"/>
                <a:gd name="connsiteY0" fmla="*/ 1119184 h 1772537"/>
                <a:gd name="connsiteX1" fmla="*/ 0 w 1720482"/>
                <a:gd name="connsiteY1" fmla="*/ 1647822 h 1772537"/>
                <a:gd name="connsiteX2" fmla="*/ 1476374 w 1720482"/>
                <a:gd name="connsiteY2" fmla="*/ 1464467 h 1772537"/>
                <a:gd name="connsiteX3" fmla="*/ 1397793 w 1720482"/>
                <a:gd name="connsiteY3" fmla="*/ 626267 h 1772537"/>
                <a:gd name="connsiteX4" fmla="*/ 835820 w 1720482"/>
                <a:gd name="connsiteY4" fmla="*/ 373856 h 1772537"/>
                <a:gd name="connsiteX5" fmla="*/ 807244 w 1720482"/>
                <a:gd name="connsiteY5" fmla="*/ 0 h 1772537"/>
                <a:gd name="connsiteX6" fmla="*/ 421482 w 1720482"/>
                <a:gd name="connsiteY6" fmla="*/ 321468 h 1772537"/>
                <a:gd name="connsiteX7" fmla="*/ 595313 w 1720482"/>
                <a:gd name="connsiteY7" fmla="*/ 766762 h 1772537"/>
                <a:gd name="connsiteX8" fmla="*/ 923925 w 1720482"/>
                <a:gd name="connsiteY8" fmla="*/ 1007267 h 1772537"/>
                <a:gd name="connsiteX9" fmla="*/ 621506 w 1720482"/>
                <a:gd name="connsiteY9" fmla="*/ 1352547 h 1772537"/>
                <a:gd name="connsiteX10" fmla="*/ 0 w 1720482"/>
                <a:gd name="connsiteY10" fmla="*/ 1119184 h 1772537"/>
                <a:gd name="connsiteX0" fmla="*/ 0 w 1630664"/>
                <a:gd name="connsiteY0" fmla="*/ 1119184 h 1772537"/>
                <a:gd name="connsiteX1" fmla="*/ 0 w 1630664"/>
                <a:gd name="connsiteY1" fmla="*/ 1647822 h 1772537"/>
                <a:gd name="connsiteX2" fmla="*/ 1476374 w 1630664"/>
                <a:gd name="connsiteY2" fmla="*/ 1464467 h 1772537"/>
                <a:gd name="connsiteX3" fmla="*/ 1397793 w 1630664"/>
                <a:gd name="connsiteY3" fmla="*/ 626267 h 1772537"/>
                <a:gd name="connsiteX4" fmla="*/ 835820 w 1630664"/>
                <a:gd name="connsiteY4" fmla="*/ 373856 h 1772537"/>
                <a:gd name="connsiteX5" fmla="*/ 807244 w 1630664"/>
                <a:gd name="connsiteY5" fmla="*/ 0 h 1772537"/>
                <a:gd name="connsiteX6" fmla="*/ 421482 w 1630664"/>
                <a:gd name="connsiteY6" fmla="*/ 321468 h 1772537"/>
                <a:gd name="connsiteX7" fmla="*/ 595313 w 1630664"/>
                <a:gd name="connsiteY7" fmla="*/ 766762 h 1772537"/>
                <a:gd name="connsiteX8" fmla="*/ 923925 w 1630664"/>
                <a:gd name="connsiteY8" fmla="*/ 1007267 h 1772537"/>
                <a:gd name="connsiteX9" fmla="*/ 621506 w 1630664"/>
                <a:gd name="connsiteY9" fmla="*/ 1352547 h 1772537"/>
                <a:gd name="connsiteX10" fmla="*/ 0 w 1630664"/>
                <a:gd name="connsiteY10" fmla="*/ 1119184 h 1772537"/>
                <a:gd name="connsiteX0" fmla="*/ 0 w 1615856"/>
                <a:gd name="connsiteY0" fmla="*/ 1119184 h 1800557"/>
                <a:gd name="connsiteX1" fmla="*/ 0 w 1615856"/>
                <a:gd name="connsiteY1" fmla="*/ 1647822 h 1800557"/>
                <a:gd name="connsiteX2" fmla="*/ 1476374 w 1615856"/>
                <a:gd name="connsiteY2" fmla="*/ 1464467 h 1800557"/>
                <a:gd name="connsiteX3" fmla="*/ 1397793 w 1615856"/>
                <a:gd name="connsiteY3" fmla="*/ 626267 h 1800557"/>
                <a:gd name="connsiteX4" fmla="*/ 835820 w 1615856"/>
                <a:gd name="connsiteY4" fmla="*/ 373856 h 1800557"/>
                <a:gd name="connsiteX5" fmla="*/ 807244 w 1615856"/>
                <a:gd name="connsiteY5" fmla="*/ 0 h 1800557"/>
                <a:gd name="connsiteX6" fmla="*/ 421482 w 1615856"/>
                <a:gd name="connsiteY6" fmla="*/ 321468 h 1800557"/>
                <a:gd name="connsiteX7" fmla="*/ 595313 w 1615856"/>
                <a:gd name="connsiteY7" fmla="*/ 766762 h 1800557"/>
                <a:gd name="connsiteX8" fmla="*/ 923925 w 1615856"/>
                <a:gd name="connsiteY8" fmla="*/ 1007267 h 1800557"/>
                <a:gd name="connsiteX9" fmla="*/ 621506 w 1615856"/>
                <a:gd name="connsiteY9" fmla="*/ 1352547 h 1800557"/>
                <a:gd name="connsiteX10" fmla="*/ 0 w 1615856"/>
                <a:gd name="connsiteY10" fmla="*/ 1119184 h 1800557"/>
                <a:gd name="connsiteX0" fmla="*/ 0 w 1626496"/>
                <a:gd name="connsiteY0" fmla="*/ 1119184 h 1800277"/>
                <a:gd name="connsiteX1" fmla="*/ 0 w 1626496"/>
                <a:gd name="connsiteY1" fmla="*/ 1647822 h 1800277"/>
                <a:gd name="connsiteX2" fmla="*/ 1476374 w 1626496"/>
                <a:gd name="connsiteY2" fmla="*/ 1464467 h 1800277"/>
                <a:gd name="connsiteX3" fmla="*/ 1397793 w 1626496"/>
                <a:gd name="connsiteY3" fmla="*/ 626267 h 1800277"/>
                <a:gd name="connsiteX4" fmla="*/ 835820 w 1626496"/>
                <a:gd name="connsiteY4" fmla="*/ 373856 h 1800277"/>
                <a:gd name="connsiteX5" fmla="*/ 807244 w 1626496"/>
                <a:gd name="connsiteY5" fmla="*/ 0 h 1800277"/>
                <a:gd name="connsiteX6" fmla="*/ 421482 w 1626496"/>
                <a:gd name="connsiteY6" fmla="*/ 321468 h 1800277"/>
                <a:gd name="connsiteX7" fmla="*/ 595313 w 1626496"/>
                <a:gd name="connsiteY7" fmla="*/ 766762 h 1800277"/>
                <a:gd name="connsiteX8" fmla="*/ 923925 w 1626496"/>
                <a:gd name="connsiteY8" fmla="*/ 1007267 h 1800277"/>
                <a:gd name="connsiteX9" fmla="*/ 621506 w 1626496"/>
                <a:gd name="connsiteY9" fmla="*/ 1352547 h 1800277"/>
                <a:gd name="connsiteX10" fmla="*/ 0 w 1626496"/>
                <a:gd name="connsiteY10" fmla="*/ 1119184 h 180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6496" h="1800277">
                  <a:moveTo>
                    <a:pt x="0" y="1119184"/>
                  </a:moveTo>
                  <a:lnTo>
                    <a:pt x="0" y="1647822"/>
                  </a:lnTo>
                  <a:cubicBezTo>
                    <a:pt x="686196" y="1947462"/>
                    <a:pt x="1196953" y="1762179"/>
                    <a:pt x="1476374" y="1464467"/>
                  </a:cubicBezTo>
                  <a:cubicBezTo>
                    <a:pt x="1699180" y="1227076"/>
                    <a:pt x="1674781" y="817990"/>
                    <a:pt x="1397793" y="626267"/>
                  </a:cubicBezTo>
                  <a:cubicBezTo>
                    <a:pt x="1228944" y="509394"/>
                    <a:pt x="1023144" y="457993"/>
                    <a:pt x="835820" y="373856"/>
                  </a:cubicBezTo>
                  <a:cubicBezTo>
                    <a:pt x="676275" y="325437"/>
                    <a:pt x="542926" y="112711"/>
                    <a:pt x="807244" y="0"/>
                  </a:cubicBezTo>
                  <a:cubicBezTo>
                    <a:pt x="507207" y="50006"/>
                    <a:pt x="440530" y="235745"/>
                    <a:pt x="421482" y="321468"/>
                  </a:cubicBezTo>
                  <a:cubicBezTo>
                    <a:pt x="362745" y="574674"/>
                    <a:pt x="546894" y="723107"/>
                    <a:pt x="595313" y="766762"/>
                  </a:cubicBezTo>
                  <a:cubicBezTo>
                    <a:pt x="664369" y="835024"/>
                    <a:pt x="857250" y="884236"/>
                    <a:pt x="923925" y="1007267"/>
                  </a:cubicBezTo>
                  <a:cubicBezTo>
                    <a:pt x="992188" y="1158079"/>
                    <a:pt x="883541" y="1334500"/>
                    <a:pt x="621506" y="1352547"/>
                  </a:cubicBezTo>
                  <a:cubicBezTo>
                    <a:pt x="455755" y="1363963"/>
                    <a:pt x="205977" y="1265235"/>
                    <a:pt x="0" y="1119184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2" name="Freeform 31"/>
            <p:cNvSpPr/>
            <p:nvPr userDrawn="1"/>
          </p:nvSpPr>
          <p:spPr>
            <a:xfrm>
              <a:off x="7408561" y="1750302"/>
              <a:ext cx="290370" cy="168163"/>
            </a:xfrm>
            <a:custGeom>
              <a:avLst/>
              <a:gdLst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13690"/>
                <a:gd name="connsiteY0" fmla="*/ 635794 h 788194"/>
                <a:gd name="connsiteX1" fmla="*/ 1402556 w 1413690"/>
                <a:gd name="connsiteY1" fmla="*/ 64294 h 788194"/>
                <a:gd name="connsiteX2" fmla="*/ 547687 w 1413690"/>
                <a:gd name="connsiteY2" fmla="*/ 0 h 788194"/>
                <a:gd name="connsiteX3" fmla="*/ 14287 w 1413690"/>
                <a:gd name="connsiteY3" fmla="*/ 469106 h 788194"/>
                <a:gd name="connsiteX4" fmla="*/ 0 w 1413690"/>
                <a:gd name="connsiteY4" fmla="*/ 788194 h 788194"/>
                <a:gd name="connsiteX5" fmla="*/ 283368 w 1413690"/>
                <a:gd name="connsiteY5" fmla="*/ 438150 h 788194"/>
                <a:gd name="connsiteX6" fmla="*/ 821531 w 1413690"/>
                <a:gd name="connsiteY6" fmla="*/ 371475 h 788194"/>
                <a:gd name="connsiteX7" fmla="*/ 1404937 w 1413690"/>
                <a:gd name="connsiteY7" fmla="*/ 635794 h 788194"/>
                <a:gd name="connsiteX0" fmla="*/ 1404937 w 1417413"/>
                <a:gd name="connsiteY0" fmla="*/ 635794 h 788194"/>
                <a:gd name="connsiteX1" fmla="*/ 1402556 w 1417413"/>
                <a:gd name="connsiteY1" fmla="*/ 64294 h 788194"/>
                <a:gd name="connsiteX2" fmla="*/ 547687 w 1417413"/>
                <a:gd name="connsiteY2" fmla="*/ 0 h 788194"/>
                <a:gd name="connsiteX3" fmla="*/ 14287 w 1417413"/>
                <a:gd name="connsiteY3" fmla="*/ 469106 h 788194"/>
                <a:gd name="connsiteX4" fmla="*/ 0 w 1417413"/>
                <a:gd name="connsiteY4" fmla="*/ 788194 h 788194"/>
                <a:gd name="connsiteX5" fmla="*/ 283368 w 1417413"/>
                <a:gd name="connsiteY5" fmla="*/ 438150 h 788194"/>
                <a:gd name="connsiteX6" fmla="*/ 821531 w 1417413"/>
                <a:gd name="connsiteY6" fmla="*/ 371475 h 788194"/>
                <a:gd name="connsiteX7" fmla="*/ 1404937 w 1417413"/>
                <a:gd name="connsiteY7" fmla="*/ 635794 h 788194"/>
                <a:gd name="connsiteX0" fmla="*/ 1404937 w 1417413"/>
                <a:gd name="connsiteY0" fmla="*/ 636458 h 788858"/>
                <a:gd name="connsiteX1" fmla="*/ 1402556 w 1417413"/>
                <a:gd name="connsiteY1" fmla="*/ 64958 h 788858"/>
                <a:gd name="connsiteX2" fmla="*/ 547687 w 1417413"/>
                <a:gd name="connsiteY2" fmla="*/ 664 h 788858"/>
                <a:gd name="connsiteX3" fmla="*/ 14287 w 1417413"/>
                <a:gd name="connsiteY3" fmla="*/ 469770 h 788858"/>
                <a:gd name="connsiteX4" fmla="*/ 0 w 1417413"/>
                <a:gd name="connsiteY4" fmla="*/ 788858 h 788858"/>
                <a:gd name="connsiteX5" fmla="*/ 283368 w 1417413"/>
                <a:gd name="connsiteY5" fmla="*/ 438814 h 788858"/>
                <a:gd name="connsiteX6" fmla="*/ 821531 w 1417413"/>
                <a:gd name="connsiteY6" fmla="*/ 372139 h 788858"/>
                <a:gd name="connsiteX7" fmla="*/ 1404937 w 1417413"/>
                <a:gd name="connsiteY7" fmla="*/ 636458 h 788858"/>
                <a:gd name="connsiteX0" fmla="*/ 1404937 w 1417413"/>
                <a:gd name="connsiteY0" fmla="*/ 659983 h 812383"/>
                <a:gd name="connsiteX1" fmla="*/ 1402556 w 1417413"/>
                <a:gd name="connsiteY1" fmla="*/ 88483 h 812383"/>
                <a:gd name="connsiteX2" fmla="*/ 547687 w 1417413"/>
                <a:gd name="connsiteY2" fmla="*/ 24189 h 812383"/>
                <a:gd name="connsiteX3" fmla="*/ 14287 w 1417413"/>
                <a:gd name="connsiteY3" fmla="*/ 493295 h 812383"/>
                <a:gd name="connsiteX4" fmla="*/ 0 w 1417413"/>
                <a:gd name="connsiteY4" fmla="*/ 812383 h 812383"/>
                <a:gd name="connsiteX5" fmla="*/ 283368 w 1417413"/>
                <a:gd name="connsiteY5" fmla="*/ 462339 h 812383"/>
                <a:gd name="connsiteX6" fmla="*/ 821531 w 1417413"/>
                <a:gd name="connsiteY6" fmla="*/ 395664 h 812383"/>
                <a:gd name="connsiteX7" fmla="*/ 1404937 w 1417413"/>
                <a:gd name="connsiteY7" fmla="*/ 659983 h 812383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6804 w 1419280"/>
                <a:gd name="connsiteY0" fmla="*/ 674932 h 827332"/>
                <a:gd name="connsiteX1" fmla="*/ 1404423 w 1419280"/>
                <a:gd name="connsiteY1" fmla="*/ 103432 h 827332"/>
                <a:gd name="connsiteX2" fmla="*/ 549554 w 1419280"/>
                <a:gd name="connsiteY2" fmla="*/ 39138 h 827332"/>
                <a:gd name="connsiteX3" fmla="*/ 16154 w 1419280"/>
                <a:gd name="connsiteY3" fmla="*/ 508244 h 827332"/>
                <a:gd name="connsiteX4" fmla="*/ 1867 w 1419280"/>
                <a:gd name="connsiteY4" fmla="*/ 827332 h 827332"/>
                <a:gd name="connsiteX5" fmla="*/ 285235 w 1419280"/>
                <a:gd name="connsiteY5" fmla="*/ 477288 h 827332"/>
                <a:gd name="connsiteX6" fmla="*/ 823398 w 1419280"/>
                <a:gd name="connsiteY6" fmla="*/ 410613 h 827332"/>
                <a:gd name="connsiteX7" fmla="*/ 1406804 w 1419280"/>
                <a:gd name="connsiteY7" fmla="*/ 674932 h 827332"/>
                <a:gd name="connsiteX0" fmla="*/ 1409119 w 1421595"/>
                <a:gd name="connsiteY0" fmla="*/ 674932 h 827332"/>
                <a:gd name="connsiteX1" fmla="*/ 1406738 w 1421595"/>
                <a:gd name="connsiteY1" fmla="*/ 103432 h 827332"/>
                <a:gd name="connsiteX2" fmla="*/ 551869 w 1421595"/>
                <a:gd name="connsiteY2" fmla="*/ 39138 h 827332"/>
                <a:gd name="connsiteX3" fmla="*/ 18469 w 1421595"/>
                <a:gd name="connsiteY3" fmla="*/ 508244 h 827332"/>
                <a:gd name="connsiteX4" fmla="*/ 4182 w 1421595"/>
                <a:gd name="connsiteY4" fmla="*/ 827332 h 827332"/>
                <a:gd name="connsiteX5" fmla="*/ 287550 w 1421595"/>
                <a:gd name="connsiteY5" fmla="*/ 477288 h 827332"/>
                <a:gd name="connsiteX6" fmla="*/ 825713 w 1421595"/>
                <a:gd name="connsiteY6" fmla="*/ 410613 h 827332"/>
                <a:gd name="connsiteX7" fmla="*/ 1409119 w 1421595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17089 w 1428574"/>
                <a:gd name="connsiteY0" fmla="*/ 674932 h 827332"/>
                <a:gd name="connsiteX1" fmla="*/ 1414708 w 1428574"/>
                <a:gd name="connsiteY1" fmla="*/ 103432 h 827332"/>
                <a:gd name="connsiteX2" fmla="*/ 559839 w 1428574"/>
                <a:gd name="connsiteY2" fmla="*/ 39138 h 827332"/>
                <a:gd name="connsiteX3" fmla="*/ 26439 w 1428574"/>
                <a:gd name="connsiteY3" fmla="*/ 508244 h 827332"/>
                <a:gd name="connsiteX4" fmla="*/ 12152 w 1428574"/>
                <a:gd name="connsiteY4" fmla="*/ 827332 h 827332"/>
                <a:gd name="connsiteX5" fmla="*/ 295520 w 1428574"/>
                <a:gd name="connsiteY5" fmla="*/ 477288 h 827332"/>
                <a:gd name="connsiteX6" fmla="*/ 833683 w 1428574"/>
                <a:gd name="connsiteY6" fmla="*/ 410613 h 827332"/>
                <a:gd name="connsiteX7" fmla="*/ 1417089 w 1428574"/>
                <a:gd name="connsiteY7" fmla="*/ 674932 h 82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574" h="827332">
                  <a:moveTo>
                    <a:pt x="1417089" y="674932"/>
                  </a:moveTo>
                  <a:cubicBezTo>
                    <a:pt x="1435346" y="448714"/>
                    <a:pt x="1429789" y="289169"/>
                    <a:pt x="1414708" y="103432"/>
                  </a:cubicBezTo>
                  <a:cubicBezTo>
                    <a:pt x="1129752" y="1038"/>
                    <a:pt x="880514" y="-34681"/>
                    <a:pt x="559839" y="39138"/>
                  </a:cubicBezTo>
                  <a:cubicBezTo>
                    <a:pt x="324968" y="93205"/>
                    <a:pt x="103590" y="255487"/>
                    <a:pt x="26439" y="508244"/>
                  </a:cubicBezTo>
                  <a:cubicBezTo>
                    <a:pt x="-7732" y="620193"/>
                    <a:pt x="-4518" y="728112"/>
                    <a:pt x="12152" y="827332"/>
                  </a:cubicBezTo>
                  <a:cubicBezTo>
                    <a:pt x="28424" y="650723"/>
                    <a:pt x="130471" y="560134"/>
                    <a:pt x="295520" y="477288"/>
                  </a:cubicBezTo>
                  <a:cubicBezTo>
                    <a:pt x="460084" y="394686"/>
                    <a:pt x="654458" y="387116"/>
                    <a:pt x="833683" y="410613"/>
                  </a:cubicBezTo>
                  <a:cubicBezTo>
                    <a:pt x="1142452" y="451094"/>
                    <a:pt x="1298820" y="584445"/>
                    <a:pt x="1417089" y="674932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</p:grpSp>
      <p:sp>
        <p:nvSpPr>
          <p:cNvPr id="15" name="Tijdelijke aanduiding voor tekst 14"/>
          <p:cNvSpPr>
            <a:spLocks noGrp="1"/>
          </p:cNvSpPr>
          <p:nvPr>
            <p:ph type="body" sz="quarter" idx="10" hasCustomPrompt="1"/>
          </p:nvPr>
        </p:nvSpPr>
        <p:spPr>
          <a:xfrm>
            <a:off x="478857" y="3918475"/>
            <a:ext cx="7920000" cy="330200"/>
          </a:xfrm>
        </p:spPr>
        <p:txBody>
          <a:bodyPr>
            <a:noAutofit/>
          </a:bodyPr>
          <a:lstStyle>
            <a:lvl1pPr marL="0" indent="0" algn="r">
              <a:lnSpc>
                <a:spcPts val="825"/>
              </a:lnSpc>
              <a:spcAft>
                <a:spcPts val="0"/>
              </a:spcAft>
              <a:buNone/>
              <a:defRPr sz="675" b="0" spc="0" baseline="0"/>
            </a:lvl1pPr>
          </a:lstStyle>
          <a:p>
            <a:pPr lvl="0"/>
            <a:r>
              <a:rPr lang="nl-NL" dirty="0"/>
              <a:t>&lt;</a:t>
            </a:r>
            <a:r>
              <a:rPr lang="nl-NL" dirty="0" err="1"/>
              <a:t>Function</a:t>
            </a:r>
            <a:r>
              <a:rPr lang="nl-NL" dirty="0"/>
              <a:t>&gt;</a:t>
            </a:r>
          </a:p>
        </p:txBody>
      </p:sp>
      <p:sp>
        <p:nvSpPr>
          <p:cNvPr id="16" name="Tijdelijke aanduiding voor tekst 14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" y="4409656"/>
            <a:ext cx="7920000" cy="139700"/>
          </a:xfrm>
        </p:spPr>
        <p:txBody>
          <a:bodyPr>
            <a:noAutofit/>
          </a:bodyPr>
          <a:lstStyle>
            <a:lvl1pPr marL="0" indent="0" algn="r">
              <a:lnSpc>
                <a:spcPts val="825"/>
              </a:lnSpc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nl-NL" dirty="0"/>
              <a:t>&lt;Date&gt; | &lt;</a:t>
            </a:r>
            <a:r>
              <a:rPr lang="nl-NL" dirty="0" err="1"/>
              <a:t>Place</a:t>
            </a:r>
            <a:r>
              <a:rPr lang="nl-NL" dirty="0"/>
              <a:t>&gt;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2001" y="331110"/>
            <a:ext cx="2754566" cy="1651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lnSpc>
                <a:spcPts val="975"/>
              </a:lnSpc>
              <a:defRPr sz="825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F238C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63949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336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0" r:id="rId2"/>
    <p:sldLayoutId id="2147483780" r:id="rId3"/>
    <p:sldLayoutId id="2147483771" r:id="rId4"/>
    <p:sldLayoutId id="2147483773" r:id="rId5"/>
    <p:sldLayoutId id="2147483774" r:id="rId6"/>
    <p:sldLayoutId id="2147483778" r:id="rId7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108001"/>
            <a:ext cx="7610400" cy="330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251200" y="7740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525"/>
              </a:lnSpc>
              <a:defRPr sz="525">
                <a:solidFill>
                  <a:schemeClr val="tx1"/>
                </a:solidFill>
              </a:defRPr>
            </a:lvl1pPr>
          </a:lstStyle>
          <a:p>
            <a:pPr defTabSz="685800" eaLnBrk="0" hangingPunct="0"/>
            <a:r>
              <a:rPr lang="en-US">
                <a:solidFill>
                  <a:srgbClr val="0F238C"/>
                </a:solidFill>
                <a:latin typeface="Arial" charset="0"/>
                <a:ea typeface="ＭＳ Ｐゴシック" charset="0"/>
              </a:rPr>
              <a:t>&lt;Date&gt;</a:t>
            </a:r>
            <a:endParaRPr lang="nl-NL" dirty="0">
              <a:solidFill>
                <a:srgbClr val="0F238C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251200" y="644400"/>
            <a:ext cx="7524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600"/>
              </a:lnSpc>
              <a:defRPr sz="525">
                <a:solidFill>
                  <a:schemeClr val="tx1"/>
                </a:solidFill>
              </a:defRPr>
            </a:lvl1pPr>
          </a:lstStyle>
          <a:p>
            <a:pPr defTabSz="685800" eaLnBrk="0" hangingPunct="0"/>
            <a:r>
              <a:rPr lang="nl-NL">
                <a:solidFill>
                  <a:srgbClr val="0F238C"/>
                </a:solidFill>
                <a:latin typeface="Arial" charset="0"/>
                <a:ea typeface="ＭＳ Ｐゴシック" charset="0"/>
              </a:rPr>
              <a:t>Slide </a:t>
            </a:r>
            <a:fld id="{1D9B13CD-33A0-446D-8703-F89F9F109F54}" type="slidenum">
              <a:rPr lang="nl-NL" smtClean="0">
                <a:solidFill>
                  <a:srgbClr val="0F238C"/>
                </a:solidFill>
                <a:latin typeface="Arial" charset="0"/>
                <a:ea typeface="ＭＳ Ｐゴシック" charset="0"/>
              </a:rPr>
              <a:pPr defTabSz="685800" eaLnBrk="0" hangingPunct="0"/>
              <a:t>‹#›</a:t>
            </a:fld>
            <a:endParaRPr lang="nl-NL" dirty="0">
              <a:solidFill>
                <a:srgbClr val="0F238C"/>
              </a:solidFill>
              <a:latin typeface="Arial" charset="0"/>
              <a:ea typeface="ＭＳ Ｐゴシック" charset="0"/>
            </a:endParaRPr>
          </a:p>
        </p:txBody>
      </p:sp>
      <p:pic>
        <p:nvPicPr>
          <p:cNvPr id="7" name="Picture 17"/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52" r="9151"/>
          <a:stretch/>
        </p:blipFill>
        <p:spPr>
          <a:xfrm>
            <a:off x="8097108" y="0"/>
            <a:ext cx="155122" cy="5143500"/>
          </a:xfrm>
          <a:prstGeom prst="rect">
            <a:avLst/>
          </a:prstGeom>
        </p:spPr>
      </p:pic>
      <p:grpSp>
        <p:nvGrpSpPr>
          <p:cNvPr id="18" name="Groep 17"/>
          <p:cNvGrpSpPr/>
          <p:nvPr/>
        </p:nvGrpSpPr>
        <p:grpSpPr>
          <a:xfrm>
            <a:off x="8320087" y="175582"/>
            <a:ext cx="684118" cy="155819"/>
            <a:chOff x="8320087" y="159540"/>
            <a:chExt cx="684118" cy="191810"/>
          </a:xfrm>
        </p:grpSpPr>
        <p:sp>
          <p:nvSpPr>
            <p:cNvPr id="8" name="Freeform 30"/>
            <p:cNvSpPr/>
            <p:nvPr userDrawn="1"/>
          </p:nvSpPr>
          <p:spPr>
            <a:xfrm>
              <a:off x="8320087" y="164783"/>
              <a:ext cx="170905" cy="182992"/>
            </a:xfrm>
            <a:custGeom>
              <a:avLst/>
              <a:gdLst>
                <a:gd name="connsiteX0" fmla="*/ 0 w 1097756"/>
                <a:gd name="connsiteY0" fmla="*/ 0 h 1181100"/>
                <a:gd name="connsiteX1" fmla="*/ 745331 w 1097756"/>
                <a:gd name="connsiteY1" fmla="*/ 0 h 1181100"/>
                <a:gd name="connsiteX2" fmla="*/ 1097756 w 1097756"/>
                <a:gd name="connsiteY2" fmla="*/ 1178718 h 1181100"/>
                <a:gd name="connsiteX3" fmla="*/ 523875 w 1097756"/>
                <a:gd name="connsiteY3" fmla="*/ 1181100 h 1181100"/>
                <a:gd name="connsiteX4" fmla="*/ 0 w 1097756"/>
                <a:gd name="connsiteY4" fmla="*/ 0 h 1181100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523875 w 1400175"/>
                <a:gd name="connsiteY3" fmla="*/ 1181100 h 2197893"/>
                <a:gd name="connsiteX4" fmla="*/ 0 w 1400175"/>
                <a:gd name="connsiteY4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1047750 w 1400175"/>
                <a:gd name="connsiteY3" fmla="*/ 1790700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50094 w 1400175"/>
                <a:gd name="connsiteY3" fmla="*/ 2193131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523875 w 1400175"/>
                <a:gd name="connsiteY4" fmla="*/ 1181100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0 w 1400175"/>
                <a:gd name="connsiteY5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230981 w 1400175"/>
                <a:gd name="connsiteY5" fmla="*/ 295275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95262 w 1400175"/>
                <a:gd name="connsiteY5" fmla="*/ 1204913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0 w 1400175"/>
                <a:gd name="connsiteY6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135731 w 1400175"/>
                <a:gd name="connsiteY6" fmla="*/ 1102518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0 w 1400175"/>
                <a:gd name="connsiteY7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378619 w 1400175"/>
                <a:gd name="connsiteY7" fmla="*/ 862012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0 w 1400175"/>
                <a:gd name="connsiteY8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426244 w 1400175"/>
                <a:gd name="connsiteY8" fmla="*/ 1112043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52388 w 1400175"/>
                <a:gd name="connsiteY9" fmla="*/ 1131093 h 2197893"/>
                <a:gd name="connsiteX10" fmla="*/ 0 w 1400175"/>
                <a:gd name="connsiteY10" fmla="*/ 0 h 2197893"/>
                <a:gd name="connsiteX0" fmla="*/ 0 w 1400175"/>
                <a:gd name="connsiteY0" fmla="*/ 0 h 2197893"/>
                <a:gd name="connsiteX1" fmla="*/ 745331 w 1400175"/>
                <a:gd name="connsiteY1" fmla="*/ 0 h 2197893"/>
                <a:gd name="connsiteX2" fmla="*/ 1400175 w 1400175"/>
                <a:gd name="connsiteY2" fmla="*/ 2197893 h 2197893"/>
                <a:gd name="connsiteX3" fmla="*/ 747713 w 1400175"/>
                <a:gd name="connsiteY3" fmla="*/ 2195512 h 2197893"/>
                <a:gd name="connsiteX4" fmla="*/ 371475 w 1400175"/>
                <a:gd name="connsiteY4" fmla="*/ 478631 h 2197893"/>
                <a:gd name="connsiteX5" fmla="*/ 173830 w 1400175"/>
                <a:gd name="connsiteY5" fmla="*/ 1383507 h 2197893"/>
                <a:gd name="connsiteX6" fmla="*/ 609600 w 1400175"/>
                <a:gd name="connsiteY6" fmla="*/ 1385887 h 2197893"/>
                <a:gd name="connsiteX7" fmla="*/ 692944 w 1400175"/>
                <a:gd name="connsiteY7" fmla="*/ 1797843 h 2197893"/>
                <a:gd name="connsiteX8" fmla="*/ 88106 w 1400175"/>
                <a:gd name="connsiteY8" fmla="*/ 1795462 h 2197893"/>
                <a:gd name="connsiteX9" fmla="*/ 0 w 1400175"/>
                <a:gd name="connsiteY9" fmla="*/ 2197893 h 2197893"/>
                <a:gd name="connsiteX10" fmla="*/ 0 w 1400175"/>
                <a:gd name="connsiteY10" fmla="*/ 0 h 2197893"/>
                <a:gd name="connsiteX0" fmla="*/ 4762 w 1404937"/>
                <a:gd name="connsiteY0" fmla="*/ 0 h 2197893"/>
                <a:gd name="connsiteX1" fmla="*/ 750093 w 1404937"/>
                <a:gd name="connsiteY1" fmla="*/ 0 h 2197893"/>
                <a:gd name="connsiteX2" fmla="*/ 1404937 w 1404937"/>
                <a:gd name="connsiteY2" fmla="*/ 2197893 h 2197893"/>
                <a:gd name="connsiteX3" fmla="*/ 752475 w 1404937"/>
                <a:gd name="connsiteY3" fmla="*/ 2195512 h 2197893"/>
                <a:gd name="connsiteX4" fmla="*/ 376237 w 1404937"/>
                <a:gd name="connsiteY4" fmla="*/ 478631 h 2197893"/>
                <a:gd name="connsiteX5" fmla="*/ 178592 w 1404937"/>
                <a:gd name="connsiteY5" fmla="*/ 1383507 h 2197893"/>
                <a:gd name="connsiteX6" fmla="*/ 614362 w 1404937"/>
                <a:gd name="connsiteY6" fmla="*/ 1385887 h 2197893"/>
                <a:gd name="connsiteX7" fmla="*/ 697706 w 1404937"/>
                <a:gd name="connsiteY7" fmla="*/ 1797843 h 2197893"/>
                <a:gd name="connsiteX8" fmla="*/ 92868 w 1404937"/>
                <a:gd name="connsiteY8" fmla="*/ 1795462 h 2197893"/>
                <a:gd name="connsiteX9" fmla="*/ 4762 w 1404937"/>
                <a:gd name="connsiteY9" fmla="*/ 2197893 h 2197893"/>
                <a:gd name="connsiteX10" fmla="*/ 0 w 1404937"/>
                <a:gd name="connsiteY10" fmla="*/ 2045493 h 2197893"/>
                <a:gd name="connsiteX11" fmla="*/ 4762 w 1404937"/>
                <a:gd name="connsiteY11" fmla="*/ 0 h 2197893"/>
                <a:gd name="connsiteX0" fmla="*/ 652462 w 2052637"/>
                <a:gd name="connsiteY0" fmla="*/ 0 h 2197893"/>
                <a:gd name="connsiteX1" fmla="*/ 1397793 w 2052637"/>
                <a:gd name="connsiteY1" fmla="*/ 0 h 2197893"/>
                <a:gd name="connsiteX2" fmla="*/ 2052637 w 2052637"/>
                <a:gd name="connsiteY2" fmla="*/ 2197893 h 2197893"/>
                <a:gd name="connsiteX3" fmla="*/ 1400175 w 2052637"/>
                <a:gd name="connsiteY3" fmla="*/ 2195512 h 2197893"/>
                <a:gd name="connsiteX4" fmla="*/ 1023937 w 2052637"/>
                <a:gd name="connsiteY4" fmla="*/ 478631 h 2197893"/>
                <a:gd name="connsiteX5" fmla="*/ 826292 w 2052637"/>
                <a:gd name="connsiteY5" fmla="*/ 1383507 h 2197893"/>
                <a:gd name="connsiteX6" fmla="*/ 1262062 w 2052637"/>
                <a:gd name="connsiteY6" fmla="*/ 1385887 h 2197893"/>
                <a:gd name="connsiteX7" fmla="*/ 1345406 w 2052637"/>
                <a:gd name="connsiteY7" fmla="*/ 1797843 h 2197893"/>
                <a:gd name="connsiteX8" fmla="*/ 740568 w 2052637"/>
                <a:gd name="connsiteY8" fmla="*/ 1795462 h 2197893"/>
                <a:gd name="connsiteX9" fmla="*/ 652462 w 2052637"/>
                <a:gd name="connsiteY9" fmla="*/ 2197893 h 2197893"/>
                <a:gd name="connsiteX10" fmla="*/ 0 w 2052637"/>
                <a:gd name="connsiteY10" fmla="*/ 2193131 h 2197893"/>
                <a:gd name="connsiteX11" fmla="*/ 652462 w 2052637"/>
                <a:gd name="connsiteY11" fmla="*/ 0 h 2197893"/>
                <a:gd name="connsiteX0" fmla="*/ 652462 w 2052637"/>
                <a:gd name="connsiteY0" fmla="*/ 1 h 2197894"/>
                <a:gd name="connsiteX1" fmla="*/ 1397793 w 2052637"/>
                <a:gd name="connsiteY1" fmla="*/ 1 h 2197894"/>
                <a:gd name="connsiteX2" fmla="*/ 2052637 w 2052637"/>
                <a:gd name="connsiteY2" fmla="*/ 2197894 h 2197894"/>
                <a:gd name="connsiteX3" fmla="*/ 1400175 w 2052637"/>
                <a:gd name="connsiteY3" fmla="*/ 2195513 h 2197894"/>
                <a:gd name="connsiteX4" fmla="*/ 1023937 w 2052637"/>
                <a:gd name="connsiteY4" fmla="*/ 478632 h 2197894"/>
                <a:gd name="connsiteX5" fmla="*/ 826292 w 2052637"/>
                <a:gd name="connsiteY5" fmla="*/ 1383508 h 2197894"/>
                <a:gd name="connsiteX6" fmla="*/ 1262062 w 2052637"/>
                <a:gd name="connsiteY6" fmla="*/ 1385888 h 2197894"/>
                <a:gd name="connsiteX7" fmla="*/ 1345406 w 2052637"/>
                <a:gd name="connsiteY7" fmla="*/ 1797844 h 2197894"/>
                <a:gd name="connsiteX8" fmla="*/ 740568 w 2052637"/>
                <a:gd name="connsiteY8" fmla="*/ 1795463 h 2197894"/>
                <a:gd name="connsiteX9" fmla="*/ 652462 w 2052637"/>
                <a:gd name="connsiteY9" fmla="*/ 2197894 h 2197894"/>
                <a:gd name="connsiteX10" fmla="*/ 0 w 2052637"/>
                <a:gd name="connsiteY10" fmla="*/ 2193132 h 2197894"/>
                <a:gd name="connsiteX11" fmla="*/ 652462 w 2052637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62133 w 2052708"/>
                <a:gd name="connsiteY6" fmla="*/ 1385888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45477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4508 w 2052708"/>
                <a:gd name="connsiteY6" fmla="*/ 1383506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19271 w 2052708"/>
                <a:gd name="connsiteY6" fmla="*/ 1376363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7844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  <a:gd name="connsiteX0" fmla="*/ 652533 w 2052708"/>
                <a:gd name="connsiteY0" fmla="*/ 1 h 2197894"/>
                <a:gd name="connsiteX1" fmla="*/ 1397864 w 2052708"/>
                <a:gd name="connsiteY1" fmla="*/ 1 h 2197894"/>
                <a:gd name="connsiteX2" fmla="*/ 2052708 w 2052708"/>
                <a:gd name="connsiteY2" fmla="*/ 2197894 h 2197894"/>
                <a:gd name="connsiteX3" fmla="*/ 1400246 w 2052708"/>
                <a:gd name="connsiteY3" fmla="*/ 2195513 h 2197894"/>
                <a:gd name="connsiteX4" fmla="*/ 1024008 w 2052708"/>
                <a:gd name="connsiteY4" fmla="*/ 478632 h 2197894"/>
                <a:gd name="connsiteX5" fmla="*/ 826363 w 2052708"/>
                <a:gd name="connsiteY5" fmla="*/ 1383508 h 2197894"/>
                <a:gd name="connsiteX6" fmla="*/ 1221653 w 2052708"/>
                <a:gd name="connsiteY6" fmla="*/ 1383507 h 2197894"/>
                <a:gd name="connsiteX7" fmla="*/ 1312139 w 2052708"/>
                <a:gd name="connsiteY7" fmla="*/ 1795463 h 2197894"/>
                <a:gd name="connsiteX8" fmla="*/ 740639 w 2052708"/>
                <a:gd name="connsiteY8" fmla="*/ 1795463 h 2197894"/>
                <a:gd name="connsiteX9" fmla="*/ 652533 w 2052708"/>
                <a:gd name="connsiteY9" fmla="*/ 2197894 h 2197894"/>
                <a:gd name="connsiteX10" fmla="*/ 71 w 2052708"/>
                <a:gd name="connsiteY10" fmla="*/ 2193132 h 2197894"/>
                <a:gd name="connsiteX11" fmla="*/ 652533 w 2052708"/>
                <a:gd name="connsiteY11" fmla="*/ 1 h 219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2708" h="2197894">
                  <a:moveTo>
                    <a:pt x="652533" y="1"/>
                  </a:moveTo>
                  <a:lnTo>
                    <a:pt x="1397864" y="1"/>
                  </a:lnTo>
                  <a:lnTo>
                    <a:pt x="2052708" y="2197894"/>
                  </a:lnTo>
                  <a:lnTo>
                    <a:pt x="1400246" y="2195513"/>
                  </a:lnTo>
                  <a:lnTo>
                    <a:pt x="1024008" y="478632"/>
                  </a:lnTo>
                  <a:lnTo>
                    <a:pt x="826363" y="1383508"/>
                  </a:lnTo>
                  <a:lnTo>
                    <a:pt x="1221653" y="1383507"/>
                  </a:lnTo>
                  <a:lnTo>
                    <a:pt x="1312139" y="1795463"/>
                  </a:lnTo>
                  <a:lnTo>
                    <a:pt x="740639" y="1795463"/>
                  </a:lnTo>
                  <a:lnTo>
                    <a:pt x="652533" y="2197894"/>
                  </a:lnTo>
                  <a:lnTo>
                    <a:pt x="71" y="2193132"/>
                  </a:lnTo>
                  <a:cubicBezTo>
                    <a:pt x="-7867" y="2197101"/>
                    <a:pt x="648565" y="-1587"/>
                    <a:pt x="652533" y="1"/>
                  </a:cubicBezTo>
                  <a:close/>
                </a:path>
              </a:pathLst>
            </a:custGeom>
            <a:solidFill>
              <a:srgbClr val="0F23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9" name="Freeform 31"/>
            <p:cNvSpPr/>
            <p:nvPr userDrawn="1"/>
          </p:nvSpPr>
          <p:spPr>
            <a:xfrm>
              <a:off x="8653685" y="164584"/>
              <a:ext cx="208171" cy="182993"/>
            </a:xfrm>
            <a:custGeom>
              <a:avLst/>
              <a:gdLst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0 w 688182"/>
                <a:gd name="connsiteY3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214313 w 688182"/>
                <a:gd name="connsiteY3" fmla="*/ 652463 h 950119"/>
                <a:gd name="connsiteX4" fmla="*/ 0 w 688182"/>
                <a:gd name="connsiteY4" fmla="*/ 950119 h 950119"/>
                <a:gd name="connsiteX0" fmla="*/ 0 w 688182"/>
                <a:gd name="connsiteY0" fmla="*/ 950119 h 950119"/>
                <a:gd name="connsiteX1" fmla="*/ 611982 w 688182"/>
                <a:gd name="connsiteY1" fmla="*/ 950119 h 950119"/>
                <a:gd name="connsiteX2" fmla="*/ 688182 w 688182"/>
                <a:gd name="connsiteY2" fmla="*/ 0 h 950119"/>
                <a:gd name="connsiteX3" fmla="*/ 111919 w 688182"/>
                <a:gd name="connsiteY3" fmla="*/ 95250 h 950119"/>
                <a:gd name="connsiteX4" fmla="*/ 0 w 688182"/>
                <a:gd name="connsiteY4" fmla="*/ 950119 h 950119"/>
                <a:gd name="connsiteX0" fmla="*/ 0 w 723900"/>
                <a:gd name="connsiteY0" fmla="*/ 1395413 h 1395413"/>
                <a:gd name="connsiteX1" fmla="*/ 611982 w 723900"/>
                <a:gd name="connsiteY1" fmla="*/ 1395413 h 1395413"/>
                <a:gd name="connsiteX2" fmla="*/ 723900 w 723900"/>
                <a:gd name="connsiteY2" fmla="*/ 0 h 1395413"/>
                <a:gd name="connsiteX3" fmla="*/ 111919 w 723900"/>
                <a:gd name="connsiteY3" fmla="*/ 540544 h 1395413"/>
                <a:gd name="connsiteX4" fmla="*/ 0 w 723900"/>
                <a:gd name="connsiteY4" fmla="*/ 1395413 h 1395413"/>
                <a:gd name="connsiteX0" fmla="*/ 0 w 723900"/>
                <a:gd name="connsiteY0" fmla="*/ 2031206 h 2031206"/>
                <a:gd name="connsiteX1" fmla="*/ 611982 w 723900"/>
                <a:gd name="connsiteY1" fmla="*/ 2031206 h 2031206"/>
                <a:gd name="connsiteX2" fmla="*/ 723900 w 723900"/>
                <a:gd name="connsiteY2" fmla="*/ 635793 h 2031206"/>
                <a:gd name="connsiteX3" fmla="*/ 266700 w 723900"/>
                <a:gd name="connsiteY3" fmla="*/ 0 h 2031206"/>
                <a:gd name="connsiteX4" fmla="*/ 0 w 723900"/>
                <a:gd name="connsiteY4" fmla="*/ 2031206 h 2031206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283369 w 723900"/>
                <a:gd name="connsiteY3" fmla="*/ 0 h 2195513"/>
                <a:gd name="connsiteX4" fmla="*/ 0 w 723900"/>
                <a:gd name="connsiteY4" fmla="*/ 2195513 h 2195513"/>
                <a:gd name="connsiteX0" fmla="*/ 0 w 723900"/>
                <a:gd name="connsiteY0" fmla="*/ 2195513 h 2195513"/>
                <a:gd name="connsiteX1" fmla="*/ 611982 w 723900"/>
                <a:gd name="connsiteY1" fmla="*/ 2195513 h 2195513"/>
                <a:gd name="connsiteX2" fmla="*/ 723900 w 723900"/>
                <a:gd name="connsiteY2" fmla="*/ 800100 h 2195513"/>
                <a:gd name="connsiteX3" fmla="*/ 500063 w 723900"/>
                <a:gd name="connsiteY3" fmla="*/ 388145 h 2195513"/>
                <a:gd name="connsiteX4" fmla="*/ 283369 w 723900"/>
                <a:gd name="connsiteY4" fmla="*/ 0 h 2195513"/>
                <a:gd name="connsiteX5" fmla="*/ 0 w 723900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945356 w 945356"/>
                <a:gd name="connsiteY3" fmla="*/ 2382 h 2195513"/>
                <a:gd name="connsiteX4" fmla="*/ 283369 w 945356"/>
                <a:gd name="connsiteY4" fmla="*/ 0 h 2195513"/>
                <a:gd name="connsiteX5" fmla="*/ 0 w 945356"/>
                <a:gd name="connsiteY5" fmla="*/ 2195513 h 2195513"/>
                <a:gd name="connsiteX0" fmla="*/ 0 w 945356"/>
                <a:gd name="connsiteY0" fmla="*/ 2195513 h 2195513"/>
                <a:gd name="connsiteX1" fmla="*/ 611982 w 945356"/>
                <a:gd name="connsiteY1" fmla="*/ 2195513 h 2195513"/>
                <a:gd name="connsiteX2" fmla="*/ 723900 w 945356"/>
                <a:gd name="connsiteY2" fmla="*/ 800100 h 2195513"/>
                <a:gd name="connsiteX3" fmla="*/ 790575 w 945356"/>
                <a:gd name="connsiteY3" fmla="*/ 545308 h 2195513"/>
                <a:gd name="connsiteX4" fmla="*/ 945356 w 945356"/>
                <a:gd name="connsiteY4" fmla="*/ 2382 h 2195513"/>
                <a:gd name="connsiteX5" fmla="*/ 283369 w 945356"/>
                <a:gd name="connsiteY5" fmla="*/ 0 h 2195513"/>
                <a:gd name="connsiteX6" fmla="*/ 0 w 945356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252537 w 1252537"/>
                <a:gd name="connsiteY3" fmla="*/ 1333501 h 2195513"/>
                <a:gd name="connsiteX4" fmla="*/ 945356 w 1252537"/>
                <a:gd name="connsiteY4" fmla="*/ 2382 h 2195513"/>
                <a:gd name="connsiteX5" fmla="*/ 283369 w 1252537"/>
                <a:gd name="connsiteY5" fmla="*/ 0 h 2195513"/>
                <a:gd name="connsiteX6" fmla="*/ 0 w 1252537"/>
                <a:gd name="connsiteY6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31082 w 1252537"/>
                <a:gd name="connsiteY3" fmla="*/ 1112045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252537 w 1252537"/>
                <a:gd name="connsiteY4" fmla="*/ 1333501 h 2195513"/>
                <a:gd name="connsiteX5" fmla="*/ 945356 w 1252537"/>
                <a:gd name="connsiteY5" fmla="*/ 2382 h 2195513"/>
                <a:gd name="connsiteX6" fmla="*/ 283369 w 1252537"/>
                <a:gd name="connsiteY6" fmla="*/ 0 h 2195513"/>
                <a:gd name="connsiteX7" fmla="*/ 0 w 1252537"/>
                <a:gd name="connsiteY7" fmla="*/ 2195513 h 2195513"/>
                <a:gd name="connsiteX0" fmla="*/ 0 w 1252537"/>
                <a:gd name="connsiteY0" fmla="*/ 2195513 h 2195513"/>
                <a:gd name="connsiteX1" fmla="*/ 611982 w 1252537"/>
                <a:gd name="connsiteY1" fmla="*/ 2195513 h 2195513"/>
                <a:gd name="connsiteX2" fmla="*/ 723900 w 1252537"/>
                <a:gd name="connsiteY2" fmla="*/ 800100 h 2195513"/>
                <a:gd name="connsiteX3" fmla="*/ 1007270 w 1252537"/>
                <a:gd name="connsiteY3" fmla="*/ 2193132 h 2195513"/>
                <a:gd name="connsiteX4" fmla="*/ 1173957 w 1252537"/>
                <a:gd name="connsiteY4" fmla="*/ 1600202 h 2195513"/>
                <a:gd name="connsiteX5" fmla="*/ 1252537 w 1252537"/>
                <a:gd name="connsiteY5" fmla="*/ 1333501 h 2195513"/>
                <a:gd name="connsiteX6" fmla="*/ 945356 w 1252537"/>
                <a:gd name="connsiteY6" fmla="*/ 2382 h 2195513"/>
                <a:gd name="connsiteX7" fmla="*/ 283369 w 1252537"/>
                <a:gd name="connsiteY7" fmla="*/ 0 h 2195513"/>
                <a:gd name="connsiteX8" fmla="*/ 0 w 1252537"/>
                <a:gd name="connsiteY8" fmla="*/ 2195513 h 2195513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252537 w 1488282"/>
                <a:gd name="connsiteY5" fmla="*/ 1333501 h 2195514"/>
                <a:gd name="connsiteX6" fmla="*/ 945356 w 1488282"/>
                <a:gd name="connsiteY6" fmla="*/ 2382 h 2195514"/>
                <a:gd name="connsiteX7" fmla="*/ 283369 w 1488282"/>
                <a:gd name="connsiteY7" fmla="*/ 0 h 2195514"/>
                <a:gd name="connsiteX8" fmla="*/ 0 w 1488282"/>
                <a:gd name="connsiteY8" fmla="*/ 2195513 h 2195514"/>
                <a:gd name="connsiteX0" fmla="*/ 0 w 1488282"/>
                <a:gd name="connsiteY0" fmla="*/ 2195513 h 2195514"/>
                <a:gd name="connsiteX1" fmla="*/ 611982 w 1488282"/>
                <a:gd name="connsiteY1" fmla="*/ 2195513 h 2195514"/>
                <a:gd name="connsiteX2" fmla="*/ 723900 w 1488282"/>
                <a:gd name="connsiteY2" fmla="*/ 800100 h 2195514"/>
                <a:gd name="connsiteX3" fmla="*/ 1007270 w 1488282"/>
                <a:gd name="connsiteY3" fmla="*/ 2193132 h 2195514"/>
                <a:gd name="connsiteX4" fmla="*/ 1488282 w 1488282"/>
                <a:gd name="connsiteY4" fmla="*/ 2195514 h 2195514"/>
                <a:gd name="connsiteX5" fmla="*/ 1352549 w 1488282"/>
                <a:gd name="connsiteY5" fmla="*/ 1690688 h 2195514"/>
                <a:gd name="connsiteX6" fmla="*/ 1252537 w 1488282"/>
                <a:gd name="connsiteY6" fmla="*/ 1333501 h 2195514"/>
                <a:gd name="connsiteX7" fmla="*/ 945356 w 1488282"/>
                <a:gd name="connsiteY7" fmla="*/ 2382 h 2195514"/>
                <a:gd name="connsiteX8" fmla="*/ 283369 w 1488282"/>
                <a:gd name="connsiteY8" fmla="*/ 0 h 2195514"/>
                <a:gd name="connsiteX9" fmla="*/ 0 w 1488282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252537 w 1781174"/>
                <a:gd name="connsiteY6" fmla="*/ 1333501 h 2195514"/>
                <a:gd name="connsiteX7" fmla="*/ 945356 w 1781174"/>
                <a:gd name="connsiteY7" fmla="*/ 2382 h 2195514"/>
                <a:gd name="connsiteX8" fmla="*/ 283369 w 1781174"/>
                <a:gd name="connsiteY8" fmla="*/ 0 h 2195514"/>
                <a:gd name="connsiteX9" fmla="*/ 0 w 1781174"/>
                <a:gd name="connsiteY9" fmla="*/ 2195513 h 2195514"/>
                <a:gd name="connsiteX0" fmla="*/ 0 w 1781174"/>
                <a:gd name="connsiteY0" fmla="*/ 2195513 h 2195514"/>
                <a:gd name="connsiteX1" fmla="*/ 611982 w 1781174"/>
                <a:gd name="connsiteY1" fmla="*/ 2195513 h 2195514"/>
                <a:gd name="connsiteX2" fmla="*/ 723900 w 1781174"/>
                <a:gd name="connsiteY2" fmla="*/ 800100 h 2195514"/>
                <a:gd name="connsiteX3" fmla="*/ 1007270 w 1781174"/>
                <a:gd name="connsiteY3" fmla="*/ 2193132 h 2195514"/>
                <a:gd name="connsiteX4" fmla="*/ 1488282 w 1781174"/>
                <a:gd name="connsiteY4" fmla="*/ 2195514 h 2195514"/>
                <a:gd name="connsiteX5" fmla="*/ 1781174 w 1781174"/>
                <a:gd name="connsiteY5" fmla="*/ 792957 h 2195514"/>
                <a:gd name="connsiteX6" fmla="*/ 1528762 w 1781174"/>
                <a:gd name="connsiteY6" fmla="*/ 1052513 h 2195514"/>
                <a:gd name="connsiteX7" fmla="*/ 1252537 w 1781174"/>
                <a:gd name="connsiteY7" fmla="*/ 1333501 h 2195514"/>
                <a:gd name="connsiteX8" fmla="*/ 945356 w 1781174"/>
                <a:gd name="connsiteY8" fmla="*/ 2382 h 2195514"/>
                <a:gd name="connsiteX9" fmla="*/ 283369 w 1781174"/>
                <a:gd name="connsiteY9" fmla="*/ 0 h 2195514"/>
                <a:gd name="connsiteX10" fmla="*/ 0 w 1781174"/>
                <a:gd name="connsiteY10" fmla="*/ 2195513 h 2195514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559719 w 1781174"/>
                <a:gd name="connsiteY6" fmla="*/ 0 h 2197895"/>
                <a:gd name="connsiteX7" fmla="*/ 1252537 w 1781174"/>
                <a:gd name="connsiteY7" fmla="*/ 1335882 h 2197895"/>
                <a:gd name="connsiteX8" fmla="*/ 945356 w 1781174"/>
                <a:gd name="connsiteY8" fmla="*/ 4763 h 2197895"/>
                <a:gd name="connsiteX9" fmla="*/ 283369 w 1781174"/>
                <a:gd name="connsiteY9" fmla="*/ 2381 h 2197895"/>
                <a:gd name="connsiteX10" fmla="*/ 0 w 1781174"/>
                <a:gd name="connsiteY10" fmla="*/ 2197894 h 2197895"/>
                <a:gd name="connsiteX0" fmla="*/ 0 w 1781174"/>
                <a:gd name="connsiteY0" fmla="*/ 2197894 h 2197895"/>
                <a:gd name="connsiteX1" fmla="*/ 611982 w 1781174"/>
                <a:gd name="connsiteY1" fmla="*/ 2197894 h 2197895"/>
                <a:gd name="connsiteX2" fmla="*/ 723900 w 1781174"/>
                <a:gd name="connsiteY2" fmla="*/ 802481 h 2197895"/>
                <a:gd name="connsiteX3" fmla="*/ 1007270 w 1781174"/>
                <a:gd name="connsiteY3" fmla="*/ 2195513 h 2197895"/>
                <a:gd name="connsiteX4" fmla="*/ 1488282 w 1781174"/>
                <a:gd name="connsiteY4" fmla="*/ 2197895 h 2197895"/>
                <a:gd name="connsiteX5" fmla="*/ 1781174 w 1781174"/>
                <a:gd name="connsiteY5" fmla="*/ 795338 h 2197895"/>
                <a:gd name="connsiteX6" fmla="*/ 1688306 w 1781174"/>
                <a:gd name="connsiteY6" fmla="*/ 454820 h 2197895"/>
                <a:gd name="connsiteX7" fmla="*/ 1559719 w 1781174"/>
                <a:gd name="connsiteY7" fmla="*/ 0 h 2197895"/>
                <a:gd name="connsiteX8" fmla="*/ 1252537 w 1781174"/>
                <a:gd name="connsiteY8" fmla="*/ 1335882 h 2197895"/>
                <a:gd name="connsiteX9" fmla="*/ 945356 w 1781174"/>
                <a:gd name="connsiteY9" fmla="*/ 4763 h 2197895"/>
                <a:gd name="connsiteX10" fmla="*/ 283369 w 1781174"/>
                <a:gd name="connsiteY10" fmla="*/ 2381 h 2197895"/>
                <a:gd name="connsiteX11" fmla="*/ 0 w 1781174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212181 w 2212181"/>
                <a:gd name="connsiteY6" fmla="*/ 7145 h 2197895"/>
                <a:gd name="connsiteX7" fmla="*/ 1559719 w 2212181"/>
                <a:gd name="connsiteY7" fmla="*/ 0 h 2197895"/>
                <a:gd name="connsiteX8" fmla="*/ 1252537 w 2212181"/>
                <a:gd name="connsiteY8" fmla="*/ 1335882 h 2197895"/>
                <a:gd name="connsiteX9" fmla="*/ 945356 w 2212181"/>
                <a:gd name="connsiteY9" fmla="*/ 4763 h 2197895"/>
                <a:gd name="connsiteX10" fmla="*/ 283369 w 2212181"/>
                <a:gd name="connsiteY10" fmla="*/ 2381 h 2197895"/>
                <a:gd name="connsiteX11" fmla="*/ 0 w 2212181"/>
                <a:gd name="connsiteY11" fmla="*/ 2197894 h 2197895"/>
                <a:gd name="connsiteX0" fmla="*/ 0 w 2212181"/>
                <a:gd name="connsiteY0" fmla="*/ 2197894 h 2197895"/>
                <a:gd name="connsiteX1" fmla="*/ 611982 w 2212181"/>
                <a:gd name="connsiteY1" fmla="*/ 2197894 h 2197895"/>
                <a:gd name="connsiteX2" fmla="*/ 723900 w 2212181"/>
                <a:gd name="connsiteY2" fmla="*/ 802481 h 2197895"/>
                <a:gd name="connsiteX3" fmla="*/ 1007270 w 2212181"/>
                <a:gd name="connsiteY3" fmla="*/ 2195513 h 2197895"/>
                <a:gd name="connsiteX4" fmla="*/ 1488282 w 2212181"/>
                <a:gd name="connsiteY4" fmla="*/ 2197895 h 2197895"/>
                <a:gd name="connsiteX5" fmla="*/ 1781174 w 2212181"/>
                <a:gd name="connsiteY5" fmla="*/ 795338 h 2197895"/>
                <a:gd name="connsiteX6" fmla="*/ 2035968 w 2212181"/>
                <a:gd name="connsiteY6" fmla="*/ 328614 h 2197895"/>
                <a:gd name="connsiteX7" fmla="*/ 2212181 w 2212181"/>
                <a:gd name="connsiteY7" fmla="*/ 7145 h 2197895"/>
                <a:gd name="connsiteX8" fmla="*/ 1559719 w 2212181"/>
                <a:gd name="connsiteY8" fmla="*/ 0 h 2197895"/>
                <a:gd name="connsiteX9" fmla="*/ 1252537 w 2212181"/>
                <a:gd name="connsiteY9" fmla="*/ 1335882 h 2197895"/>
                <a:gd name="connsiteX10" fmla="*/ 945356 w 2212181"/>
                <a:gd name="connsiteY10" fmla="*/ 4763 h 2197895"/>
                <a:gd name="connsiteX11" fmla="*/ 283369 w 2212181"/>
                <a:gd name="connsiteY11" fmla="*/ 2381 h 2197895"/>
                <a:gd name="connsiteX12" fmla="*/ 0 w 2212181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500312 w 2500312"/>
                <a:gd name="connsiteY6" fmla="*/ 2197895 h 2197895"/>
                <a:gd name="connsiteX7" fmla="*/ 2212181 w 2500312"/>
                <a:gd name="connsiteY7" fmla="*/ 7145 h 2197895"/>
                <a:gd name="connsiteX8" fmla="*/ 1559719 w 2500312"/>
                <a:gd name="connsiteY8" fmla="*/ 0 h 2197895"/>
                <a:gd name="connsiteX9" fmla="*/ 1252537 w 2500312"/>
                <a:gd name="connsiteY9" fmla="*/ 1335882 h 2197895"/>
                <a:gd name="connsiteX10" fmla="*/ 945356 w 2500312"/>
                <a:gd name="connsiteY10" fmla="*/ 4763 h 2197895"/>
                <a:gd name="connsiteX11" fmla="*/ 283369 w 2500312"/>
                <a:gd name="connsiteY11" fmla="*/ 2381 h 2197895"/>
                <a:gd name="connsiteX12" fmla="*/ 0 w 2500312"/>
                <a:gd name="connsiteY12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2190748 w 2500312"/>
                <a:gd name="connsiteY6" fmla="*/ 1595439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81174 w 2500312"/>
                <a:gd name="connsiteY5" fmla="*/ 795338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  <a:gd name="connsiteX0" fmla="*/ 0 w 2500312"/>
                <a:gd name="connsiteY0" fmla="*/ 2197894 h 2197895"/>
                <a:gd name="connsiteX1" fmla="*/ 611982 w 2500312"/>
                <a:gd name="connsiteY1" fmla="*/ 2197894 h 2197895"/>
                <a:gd name="connsiteX2" fmla="*/ 723900 w 2500312"/>
                <a:gd name="connsiteY2" fmla="*/ 802481 h 2197895"/>
                <a:gd name="connsiteX3" fmla="*/ 1007270 w 2500312"/>
                <a:gd name="connsiteY3" fmla="*/ 2195513 h 2197895"/>
                <a:gd name="connsiteX4" fmla="*/ 1488282 w 2500312"/>
                <a:gd name="connsiteY4" fmla="*/ 2197895 h 2197895"/>
                <a:gd name="connsiteX5" fmla="*/ 1776411 w 2500312"/>
                <a:gd name="connsiteY5" fmla="*/ 809626 h 2197895"/>
                <a:gd name="connsiteX6" fmla="*/ 1883567 w 2500312"/>
                <a:gd name="connsiteY6" fmla="*/ 2195514 h 2197895"/>
                <a:gd name="connsiteX7" fmla="*/ 2500312 w 2500312"/>
                <a:gd name="connsiteY7" fmla="*/ 2197895 h 2197895"/>
                <a:gd name="connsiteX8" fmla="*/ 2212181 w 2500312"/>
                <a:gd name="connsiteY8" fmla="*/ 7145 h 2197895"/>
                <a:gd name="connsiteX9" fmla="*/ 1559719 w 2500312"/>
                <a:gd name="connsiteY9" fmla="*/ 0 h 2197895"/>
                <a:gd name="connsiteX10" fmla="*/ 1252537 w 2500312"/>
                <a:gd name="connsiteY10" fmla="*/ 1335882 h 2197895"/>
                <a:gd name="connsiteX11" fmla="*/ 945356 w 2500312"/>
                <a:gd name="connsiteY11" fmla="*/ 4763 h 2197895"/>
                <a:gd name="connsiteX12" fmla="*/ 283369 w 2500312"/>
                <a:gd name="connsiteY12" fmla="*/ 2381 h 2197895"/>
                <a:gd name="connsiteX13" fmla="*/ 0 w 2500312"/>
                <a:gd name="connsiteY13" fmla="*/ 2197894 h 2197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00312" h="2197895">
                  <a:moveTo>
                    <a:pt x="0" y="2197894"/>
                  </a:moveTo>
                  <a:lnTo>
                    <a:pt x="611982" y="2197894"/>
                  </a:lnTo>
                  <a:lnTo>
                    <a:pt x="723900" y="802481"/>
                  </a:lnTo>
                  <a:lnTo>
                    <a:pt x="1007270" y="2195513"/>
                  </a:lnTo>
                  <a:lnTo>
                    <a:pt x="1488282" y="2197895"/>
                  </a:lnTo>
                  <a:lnTo>
                    <a:pt x="1776411" y="809626"/>
                  </a:lnTo>
                  <a:lnTo>
                    <a:pt x="1883567" y="2195514"/>
                  </a:lnTo>
                  <a:lnTo>
                    <a:pt x="2500312" y="2197895"/>
                  </a:lnTo>
                  <a:lnTo>
                    <a:pt x="2212181" y="7145"/>
                  </a:lnTo>
                  <a:lnTo>
                    <a:pt x="1559719" y="0"/>
                  </a:lnTo>
                  <a:lnTo>
                    <a:pt x="1252537" y="1335882"/>
                  </a:lnTo>
                  <a:lnTo>
                    <a:pt x="945356" y="4763"/>
                  </a:lnTo>
                  <a:lnTo>
                    <a:pt x="283369" y="2381"/>
                  </a:lnTo>
                  <a:lnTo>
                    <a:pt x="0" y="2197894"/>
                  </a:ln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0" name="Freeform 32"/>
            <p:cNvSpPr/>
            <p:nvPr userDrawn="1"/>
          </p:nvSpPr>
          <p:spPr>
            <a:xfrm>
              <a:off x="8887233" y="164981"/>
              <a:ext cx="116972" cy="182397"/>
            </a:xfrm>
            <a:custGeom>
              <a:avLst/>
              <a:gdLst>
                <a:gd name="connsiteX0" fmla="*/ 0 w 1428750"/>
                <a:gd name="connsiteY0" fmla="*/ 997744 h 997744"/>
                <a:gd name="connsiteX1" fmla="*/ 1404937 w 1428750"/>
                <a:gd name="connsiteY1" fmla="*/ 997744 h 997744"/>
                <a:gd name="connsiteX2" fmla="*/ 1404937 w 1428750"/>
                <a:gd name="connsiteY2" fmla="*/ 538163 h 997744"/>
                <a:gd name="connsiteX3" fmla="*/ 1428750 w 1428750"/>
                <a:gd name="connsiteY3" fmla="*/ 540544 h 997744"/>
                <a:gd name="connsiteX4" fmla="*/ 590550 w 1428750"/>
                <a:gd name="connsiteY4" fmla="*/ 540544 h 997744"/>
                <a:gd name="connsiteX5" fmla="*/ 590550 w 1428750"/>
                <a:gd name="connsiteY5" fmla="*/ 0 h 997744"/>
                <a:gd name="connsiteX6" fmla="*/ 0 w 1428750"/>
                <a:gd name="connsiteY6" fmla="*/ 0 h 997744"/>
                <a:gd name="connsiteX7" fmla="*/ 0 w 1428750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1219200 w 1404937"/>
                <a:gd name="connsiteY3" fmla="*/ 476250 h 997744"/>
                <a:gd name="connsiteX4" fmla="*/ 590550 w 1404937"/>
                <a:gd name="connsiteY4" fmla="*/ 540544 h 997744"/>
                <a:gd name="connsiteX5" fmla="*/ 590550 w 1404937"/>
                <a:gd name="connsiteY5" fmla="*/ 0 h 997744"/>
                <a:gd name="connsiteX6" fmla="*/ 0 w 1404937"/>
                <a:gd name="connsiteY6" fmla="*/ 0 h 997744"/>
                <a:gd name="connsiteX7" fmla="*/ 0 w 1404937"/>
                <a:gd name="connsiteY7" fmla="*/ 997744 h 997744"/>
                <a:gd name="connsiteX0" fmla="*/ 0 w 1404937"/>
                <a:gd name="connsiteY0" fmla="*/ 997744 h 997744"/>
                <a:gd name="connsiteX1" fmla="*/ 1404937 w 1404937"/>
                <a:gd name="connsiteY1" fmla="*/ 997744 h 997744"/>
                <a:gd name="connsiteX2" fmla="*/ 1404937 w 1404937"/>
                <a:gd name="connsiteY2" fmla="*/ 538163 h 997744"/>
                <a:gd name="connsiteX3" fmla="*/ 590550 w 1404937"/>
                <a:gd name="connsiteY3" fmla="*/ 540544 h 997744"/>
                <a:gd name="connsiteX4" fmla="*/ 590550 w 1404937"/>
                <a:gd name="connsiteY4" fmla="*/ 0 h 997744"/>
                <a:gd name="connsiteX5" fmla="*/ 0 w 1404937"/>
                <a:gd name="connsiteY5" fmla="*/ 0 h 997744"/>
                <a:gd name="connsiteX6" fmla="*/ 0 w 1404937"/>
                <a:gd name="connsiteY6" fmla="*/ 997744 h 997744"/>
                <a:gd name="connsiteX0" fmla="*/ 0 w 1404937"/>
                <a:gd name="connsiteY0" fmla="*/ 1614488 h 1614488"/>
                <a:gd name="connsiteX1" fmla="*/ 1404937 w 1404937"/>
                <a:gd name="connsiteY1" fmla="*/ 1614488 h 1614488"/>
                <a:gd name="connsiteX2" fmla="*/ 1404937 w 1404937"/>
                <a:gd name="connsiteY2" fmla="*/ 1154907 h 1614488"/>
                <a:gd name="connsiteX3" fmla="*/ 590550 w 1404937"/>
                <a:gd name="connsiteY3" fmla="*/ 1157288 h 1614488"/>
                <a:gd name="connsiteX4" fmla="*/ 592931 w 1404937"/>
                <a:gd name="connsiteY4" fmla="*/ 0 h 1614488"/>
                <a:gd name="connsiteX5" fmla="*/ 0 w 1404937"/>
                <a:gd name="connsiteY5" fmla="*/ 616744 h 1614488"/>
                <a:gd name="connsiteX6" fmla="*/ 0 w 1404937"/>
                <a:gd name="connsiteY6" fmla="*/ 1614488 h 1614488"/>
                <a:gd name="connsiteX0" fmla="*/ 0 w 1404937"/>
                <a:gd name="connsiteY0" fmla="*/ 2188369 h 2188369"/>
                <a:gd name="connsiteX1" fmla="*/ 1404937 w 1404937"/>
                <a:gd name="connsiteY1" fmla="*/ 2188369 h 2188369"/>
                <a:gd name="connsiteX2" fmla="*/ 1404937 w 1404937"/>
                <a:gd name="connsiteY2" fmla="*/ 1728788 h 2188369"/>
                <a:gd name="connsiteX3" fmla="*/ 590550 w 1404937"/>
                <a:gd name="connsiteY3" fmla="*/ 1731169 h 2188369"/>
                <a:gd name="connsiteX4" fmla="*/ 592931 w 1404937"/>
                <a:gd name="connsiteY4" fmla="*/ 573881 h 2188369"/>
                <a:gd name="connsiteX5" fmla="*/ 2382 w 1404937"/>
                <a:gd name="connsiteY5" fmla="*/ 0 h 2188369"/>
                <a:gd name="connsiteX6" fmla="*/ 0 w 1404937"/>
                <a:gd name="connsiteY6" fmla="*/ 2188369 h 2188369"/>
                <a:gd name="connsiteX0" fmla="*/ 0 w 1404937"/>
                <a:gd name="connsiteY0" fmla="*/ 2190750 h 2190750"/>
                <a:gd name="connsiteX1" fmla="*/ 1404937 w 1404937"/>
                <a:gd name="connsiteY1" fmla="*/ 2190750 h 2190750"/>
                <a:gd name="connsiteX2" fmla="*/ 1404937 w 1404937"/>
                <a:gd name="connsiteY2" fmla="*/ 1731169 h 2190750"/>
                <a:gd name="connsiteX3" fmla="*/ 590550 w 1404937"/>
                <a:gd name="connsiteY3" fmla="*/ 1733550 h 2190750"/>
                <a:gd name="connsiteX4" fmla="*/ 592931 w 1404937"/>
                <a:gd name="connsiteY4" fmla="*/ 0 h 2190750"/>
                <a:gd name="connsiteX5" fmla="*/ 2382 w 1404937"/>
                <a:gd name="connsiteY5" fmla="*/ 2381 h 2190750"/>
                <a:gd name="connsiteX6" fmla="*/ 0 w 1404937"/>
                <a:gd name="connsiteY6" fmla="*/ 2190750 h 219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4937" h="2190750">
                  <a:moveTo>
                    <a:pt x="0" y="2190750"/>
                  </a:moveTo>
                  <a:lnTo>
                    <a:pt x="1404937" y="2190750"/>
                  </a:lnTo>
                  <a:lnTo>
                    <a:pt x="1404937" y="1731169"/>
                  </a:lnTo>
                  <a:lnTo>
                    <a:pt x="590550" y="1733550"/>
                  </a:lnTo>
                  <a:cubicBezTo>
                    <a:pt x="591344" y="1347787"/>
                    <a:pt x="592137" y="385763"/>
                    <a:pt x="592931" y="0"/>
                  </a:cubicBezTo>
                  <a:lnTo>
                    <a:pt x="2382" y="2381"/>
                  </a:lnTo>
                  <a:cubicBezTo>
                    <a:pt x="3969" y="334962"/>
                    <a:pt x="3175" y="1858169"/>
                    <a:pt x="0" y="2190750"/>
                  </a:cubicBezTo>
                  <a:close/>
                </a:path>
              </a:pathLst>
            </a:custGeom>
            <a:solidFill>
              <a:srgbClr val="0F238D"/>
            </a:solidFill>
            <a:ln w="190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1" name="Freeform 33"/>
            <p:cNvSpPr/>
            <p:nvPr userDrawn="1"/>
          </p:nvSpPr>
          <p:spPr>
            <a:xfrm>
              <a:off x="8502102" y="201462"/>
              <a:ext cx="135419" cy="149888"/>
            </a:xfrm>
            <a:custGeom>
              <a:avLst/>
              <a:gdLst>
                <a:gd name="connsiteX0" fmla="*/ 0 w 483394"/>
                <a:gd name="connsiteY0" fmla="*/ 0 h 645319"/>
                <a:gd name="connsiteX1" fmla="*/ 0 w 483394"/>
                <a:gd name="connsiteY1" fmla="*/ 528638 h 645319"/>
                <a:gd name="connsiteX2" fmla="*/ 33338 w 483394"/>
                <a:gd name="connsiteY2" fmla="*/ 528638 h 645319"/>
                <a:gd name="connsiteX3" fmla="*/ 381000 w 483394"/>
                <a:gd name="connsiteY3" fmla="*/ 645319 h 645319"/>
                <a:gd name="connsiteX4" fmla="*/ 483394 w 483394"/>
                <a:gd name="connsiteY4" fmla="*/ 216694 h 645319"/>
                <a:gd name="connsiteX5" fmla="*/ 0 w 483394"/>
                <a:gd name="connsiteY5" fmla="*/ 0 h 645319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33338 w 1626394"/>
                <a:gd name="connsiteY2" fmla="*/ 528638 h 528638"/>
                <a:gd name="connsiteX3" fmla="*/ 1626394 w 1626394"/>
                <a:gd name="connsiteY3" fmla="*/ 7144 h 528638"/>
                <a:gd name="connsiteX4" fmla="*/ 483394 w 1626394"/>
                <a:gd name="connsiteY4" fmla="*/ 216694 h 528638"/>
                <a:gd name="connsiteX5" fmla="*/ 0 w 1626394"/>
                <a:gd name="connsiteY5" fmla="*/ 0 h 528638"/>
                <a:gd name="connsiteX0" fmla="*/ 0 w 1626394"/>
                <a:gd name="connsiteY0" fmla="*/ 0 h 714375"/>
                <a:gd name="connsiteX1" fmla="*/ 0 w 1626394"/>
                <a:gd name="connsiteY1" fmla="*/ 528638 h 714375"/>
                <a:gd name="connsiteX2" fmla="*/ 354807 w 1626394"/>
                <a:gd name="connsiteY2" fmla="*/ 714375 h 714375"/>
                <a:gd name="connsiteX3" fmla="*/ 1626394 w 1626394"/>
                <a:gd name="connsiteY3" fmla="*/ 7144 h 714375"/>
                <a:gd name="connsiteX4" fmla="*/ 483394 w 1626394"/>
                <a:gd name="connsiteY4" fmla="*/ 216694 h 714375"/>
                <a:gd name="connsiteX5" fmla="*/ 0 w 1626394"/>
                <a:gd name="connsiteY5" fmla="*/ 0 h 714375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528638"/>
                <a:gd name="connsiteX1" fmla="*/ 0 w 1626394"/>
                <a:gd name="connsiteY1" fmla="*/ 528638 h 528638"/>
                <a:gd name="connsiteX2" fmla="*/ 1626394 w 1626394"/>
                <a:gd name="connsiteY2" fmla="*/ 7144 h 528638"/>
                <a:gd name="connsiteX3" fmla="*/ 483394 w 1626394"/>
                <a:gd name="connsiteY3" fmla="*/ 216694 h 528638"/>
                <a:gd name="connsiteX4" fmla="*/ 0 w 1626394"/>
                <a:gd name="connsiteY4" fmla="*/ 0 h 528638"/>
                <a:gd name="connsiteX0" fmla="*/ 0 w 1626394"/>
                <a:gd name="connsiteY0" fmla="*/ 0 h 681404"/>
                <a:gd name="connsiteX1" fmla="*/ 0 w 1626394"/>
                <a:gd name="connsiteY1" fmla="*/ 528638 h 681404"/>
                <a:gd name="connsiteX2" fmla="*/ 1626394 w 1626394"/>
                <a:gd name="connsiteY2" fmla="*/ 7144 h 681404"/>
                <a:gd name="connsiteX3" fmla="*/ 483394 w 1626394"/>
                <a:gd name="connsiteY3" fmla="*/ 216694 h 681404"/>
                <a:gd name="connsiteX4" fmla="*/ 0 w 1626394"/>
                <a:gd name="connsiteY4" fmla="*/ 0 h 681404"/>
                <a:gd name="connsiteX0" fmla="*/ 0 w 1626394"/>
                <a:gd name="connsiteY0" fmla="*/ 0 h 661055"/>
                <a:gd name="connsiteX1" fmla="*/ 0 w 1626394"/>
                <a:gd name="connsiteY1" fmla="*/ 528638 h 661055"/>
                <a:gd name="connsiteX2" fmla="*/ 1626394 w 1626394"/>
                <a:gd name="connsiteY2" fmla="*/ 7144 h 661055"/>
                <a:gd name="connsiteX3" fmla="*/ 483394 w 1626394"/>
                <a:gd name="connsiteY3" fmla="*/ 216694 h 661055"/>
                <a:gd name="connsiteX4" fmla="*/ 0 w 1626394"/>
                <a:gd name="connsiteY4" fmla="*/ 0 h 661055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483394 w 1626394"/>
                <a:gd name="connsiteY3" fmla="*/ 216694 h 678971"/>
                <a:gd name="connsiteX4" fmla="*/ 0 w 1626394"/>
                <a:gd name="connsiteY4" fmla="*/ 0 h 678971"/>
                <a:gd name="connsiteX0" fmla="*/ 0 w 1626394"/>
                <a:gd name="connsiteY0" fmla="*/ 0 h 678971"/>
                <a:gd name="connsiteX1" fmla="*/ 0 w 1626394"/>
                <a:gd name="connsiteY1" fmla="*/ 528638 h 678971"/>
                <a:gd name="connsiteX2" fmla="*/ 1626394 w 1626394"/>
                <a:gd name="connsiteY2" fmla="*/ 7144 h 678971"/>
                <a:gd name="connsiteX3" fmla="*/ 621506 w 1626394"/>
                <a:gd name="connsiteY3" fmla="*/ 233363 h 678971"/>
                <a:gd name="connsiteX4" fmla="*/ 0 w 1626394"/>
                <a:gd name="connsiteY4" fmla="*/ 0 h 67897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621506 w 1626394"/>
                <a:gd name="connsiteY3" fmla="*/ 238223 h 683831"/>
                <a:gd name="connsiteX4" fmla="*/ 0 w 1626394"/>
                <a:gd name="connsiteY4" fmla="*/ 4860 h 683831"/>
                <a:gd name="connsiteX0" fmla="*/ 0 w 1626394"/>
                <a:gd name="connsiteY0" fmla="*/ 4860 h 683831"/>
                <a:gd name="connsiteX1" fmla="*/ 0 w 1626394"/>
                <a:gd name="connsiteY1" fmla="*/ 533498 h 683831"/>
                <a:gd name="connsiteX2" fmla="*/ 1626394 w 1626394"/>
                <a:gd name="connsiteY2" fmla="*/ 12004 h 683831"/>
                <a:gd name="connsiteX3" fmla="*/ 1066800 w 1626394"/>
                <a:gd name="connsiteY3" fmla="*/ 135830 h 683831"/>
                <a:gd name="connsiteX4" fmla="*/ 621506 w 1626394"/>
                <a:gd name="connsiteY4" fmla="*/ 238223 h 683831"/>
                <a:gd name="connsiteX5" fmla="*/ 0 w 1626394"/>
                <a:gd name="connsiteY5" fmla="*/ 4860 h 683831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923925 w 1626394"/>
                <a:gd name="connsiteY3" fmla="*/ 0 h 790888"/>
                <a:gd name="connsiteX4" fmla="*/ 621506 w 1626394"/>
                <a:gd name="connsiteY4" fmla="*/ 345280 h 790888"/>
                <a:gd name="connsiteX5" fmla="*/ 0 w 1626394"/>
                <a:gd name="connsiteY5" fmla="*/ 111917 h 790888"/>
                <a:gd name="connsiteX0" fmla="*/ 0 w 1626394"/>
                <a:gd name="connsiteY0" fmla="*/ 111917 h 790888"/>
                <a:gd name="connsiteX1" fmla="*/ 0 w 1626394"/>
                <a:gd name="connsiteY1" fmla="*/ 640555 h 790888"/>
                <a:gd name="connsiteX2" fmla="*/ 1626394 w 1626394"/>
                <a:gd name="connsiteY2" fmla="*/ 119061 h 790888"/>
                <a:gd name="connsiteX3" fmla="*/ 1059656 w 1626394"/>
                <a:gd name="connsiteY3" fmla="*/ 23812 h 790888"/>
                <a:gd name="connsiteX4" fmla="*/ 923925 w 1626394"/>
                <a:gd name="connsiteY4" fmla="*/ 0 h 790888"/>
                <a:gd name="connsiteX5" fmla="*/ 621506 w 1626394"/>
                <a:gd name="connsiteY5" fmla="*/ 345280 h 790888"/>
                <a:gd name="connsiteX6" fmla="*/ 0 w 1626394"/>
                <a:gd name="connsiteY6" fmla="*/ 111917 h 790888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26394"/>
                <a:gd name="connsiteY0" fmla="*/ 538161 h 1217132"/>
                <a:gd name="connsiteX1" fmla="*/ 0 w 1626394"/>
                <a:gd name="connsiteY1" fmla="*/ 1066799 h 1217132"/>
                <a:gd name="connsiteX2" fmla="*/ 1626394 w 1626394"/>
                <a:gd name="connsiteY2" fmla="*/ 545305 h 1217132"/>
                <a:gd name="connsiteX3" fmla="*/ 1323974 w 1626394"/>
                <a:gd name="connsiteY3" fmla="*/ 0 h 1217132"/>
                <a:gd name="connsiteX4" fmla="*/ 923925 w 1626394"/>
                <a:gd name="connsiteY4" fmla="*/ 426244 h 1217132"/>
                <a:gd name="connsiteX5" fmla="*/ 621506 w 1626394"/>
                <a:gd name="connsiteY5" fmla="*/ 771524 h 1217132"/>
                <a:gd name="connsiteX6" fmla="*/ 0 w 1626394"/>
                <a:gd name="connsiteY6" fmla="*/ 538161 h 1217132"/>
                <a:gd name="connsiteX0" fmla="*/ 0 w 1635310"/>
                <a:gd name="connsiteY0" fmla="*/ 538161 h 1066802"/>
                <a:gd name="connsiteX1" fmla="*/ 0 w 1635310"/>
                <a:gd name="connsiteY1" fmla="*/ 1066799 h 1066802"/>
                <a:gd name="connsiteX2" fmla="*/ 1626394 w 1635310"/>
                <a:gd name="connsiteY2" fmla="*/ 545305 h 1066802"/>
                <a:gd name="connsiteX3" fmla="*/ 1323974 w 1635310"/>
                <a:gd name="connsiteY3" fmla="*/ 0 h 1066802"/>
                <a:gd name="connsiteX4" fmla="*/ 923925 w 1635310"/>
                <a:gd name="connsiteY4" fmla="*/ 426244 h 1066802"/>
                <a:gd name="connsiteX5" fmla="*/ 621506 w 1635310"/>
                <a:gd name="connsiteY5" fmla="*/ 771524 h 1066802"/>
                <a:gd name="connsiteX6" fmla="*/ 0 w 1635310"/>
                <a:gd name="connsiteY6" fmla="*/ 538161 h 1066802"/>
                <a:gd name="connsiteX0" fmla="*/ 0 w 1632620"/>
                <a:gd name="connsiteY0" fmla="*/ 538161 h 1083110"/>
                <a:gd name="connsiteX1" fmla="*/ 0 w 1632620"/>
                <a:gd name="connsiteY1" fmla="*/ 1066799 h 1083110"/>
                <a:gd name="connsiteX2" fmla="*/ 1626394 w 1632620"/>
                <a:gd name="connsiteY2" fmla="*/ 545305 h 1083110"/>
                <a:gd name="connsiteX3" fmla="*/ 1323974 w 1632620"/>
                <a:gd name="connsiteY3" fmla="*/ 0 h 1083110"/>
                <a:gd name="connsiteX4" fmla="*/ 923925 w 1632620"/>
                <a:gd name="connsiteY4" fmla="*/ 426244 h 1083110"/>
                <a:gd name="connsiteX5" fmla="*/ 621506 w 1632620"/>
                <a:gd name="connsiteY5" fmla="*/ 771524 h 1083110"/>
                <a:gd name="connsiteX6" fmla="*/ 0 w 1632620"/>
                <a:gd name="connsiteY6" fmla="*/ 538161 h 1083110"/>
                <a:gd name="connsiteX0" fmla="*/ 0 w 1638832"/>
                <a:gd name="connsiteY0" fmla="*/ 538161 h 1079262"/>
                <a:gd name="connsiteX1" fmla="*/ 0 w 1638832"/>
                <a:gd name="connsiteY1" fmla="*/ 1066799 h 1079262"/>
                <a:gd name="connsiteX2" fmla="*/ 1626394 w 1638832"/>
                <a:gd name="connsiteY2" fmla="*/ 545305 h 1079262"/>
                <a:gd name="connsiteX3" fmla="*/ 1323974 w 1638832"/>
                <a:gd name="connsiteY3" fmla="*/ 0 h 1079262"/>
                <a:gd name="connsiteX4" fmla="*/ 923925 w 1638832"/>
                <a:gd name="connsiteY4" fmla="*/ 426244 h 1079262"/>
                <a:gd name="connsiteX5" fmla="*/ 621506 w 1638832"/>
                <a:gd name="connsiteY5" fmla="*/ 771524 h 1079262"/>
                <a:gd name="connsiteX6" fmla="*/ 0 w 1638832"/>
                <a:gd name="connsiteY6" fmla="*/ 538161 h 1079262"/>
                <a:gd name="connsiteX0" fmla="*/ 0 w 1629379"/>
                <a:gd name="connsiteY0" fmla="*/ 538161 h 1066897"/>
                <a:gd name="connsiteX1" fmla="*/ 0 w 1629379"/>
                <a:gd name="connsiteY1" fmla="*/ 1066799 h 1066897"/>
                <a:gd name="connsiteX2" fmla="*/ 1616869 w 1629379"/>
                <a:gd name="connsiteY2" fmla="*/ 409574 h 1066897"/>
                <a:gd name="connsiteX3" fmla="*/ 1323974 w 1629379"/>
                <a:gd name="connsiteY3" fmla="*/ 0 h 1066897"/>
                <a:gd name="connsiteX4" fmla="*/ 923925 w 1629379"/>
                <a:gd name="connsiteY4" fmla="*/ 426244 h 1066897"/>
                <a:gd name="connsiteX5" fmla="*/ 621506 w 1629379"/>
                <a:gd name="connsiteY5" fmla="*/ 771524 h 1066897"/>
                <a:gd name="connsiteX6" fmla="*/ 0 w 1629379"/>
                <a:gd name="connsiteY6" fmla="*/ 538161 h 1066897"/>
                <a:gd name="connsiteX0" fmla="*/ 0 w 1620913"/>
                <a:gd name="connsiteY0" fmla="*/ 538161 h 1107877"/>
                <a:gd name="connsiteX1" fmla="*/ 0 w 1620913"/>
                <a:gd name="connsiteY1" fmla="*/ 1066799 h 1107877"/>
                <a:gd name="connsiteX2" fmla="*/ 1616869 w 1620913"/>
                <a:gd name="connsiteY2" fmla="*/ 409574 h 1107877"/>
                <a:gd name="connsiteX3" fmla="*/ 1323974 w 1620913"/>
                <a:gd name="connsiteY3" fmla="*/ 0 h 1107877"/>
                <a:gd name="connsiteX4" fmla="*/ 923925 w 1620913"/>
                <a:gd name="connsiteY4" fmla="*/ 426244 h 1107877"/>
                <a:gd name="connsiteX5" fmla="*/ 621506 w 1620913"/>
                <a:gd name="connsiteY5" fmla="*/ 771524 h 1107877"/>
                <a:gd name="connsiteX6" fmla="*/ 0 w 1620913"/>
                <a:gd name="connsiteY6" fmla="*/ 538161 h 1107877"/>
                <a:gd name="connsiteX0" fmla="*/ 0 w 1620913"/>
                <a:gd name="connsiteY0" fmla="*/ 538161 h 1218265"/>
                <a:gd name="connsiteX1" fmla="*/ 0 w 1620913"/>
                <a:gd name="connsiteY1" fmla="*/ 1066799 h 1218265"/>
                <a:gd name="connsiteX2" fmla="*/ 1616869 w 1620913"/>
                <a:gd name="connsiteY2" fmla="*/ 409574 h 1218265"/>
                <a:gd name="connsiteX3" fmla="*/ 1323974 w 1620913"/>
                <a:gd name="connsiteY3" fmla="*/ 0 h 1218265"/>
                <a:gd name="connsiteX4" fmla="*/ 923925 w 1620913"/>
                <a:gd name="connsiteY4" fmla="*/ 426244 h 1218265"/>
                <a:gd name="connsiteX5" fmla="*/ 621506 w 1620913"/>
                <a:gd name="connsiteY5" fmla="*/ 771524 h 1218265"/>
                <a:gd name="connsiteX6" fmla="*/ 0 w 1620913"/>
                <a:gd name="connsiteY6" fmla="*/ 538161 h 1218265"/>
                <a:gd name="connsiteX0" fmla="*/ 0 w 1620913"/>
                <a:gd name="connsiteY0" fmla="*/ 538161 h 1066799"/>
                <a:gd name="connsiteX1" fmla="*/ 0 w 1620913"/>
                <a:gd name="connsiteY1" fmla="*/ 1066799 h 1066799"/>
                <a:gd name="connsiteX2" fmla="*/ 1616869 w 1620913"/>
                <a:gd name="connsiteY2" fmla="*/ 409574 h 1066799"/>
                <a:gd name="connsiteX3" fmla="*/ 1323974 w 1620913"/>
                <a:gd name="connsiteY3" fmla="*/ 0 h 1066799"/>
                <a:gd name="connsiteX4" fmla="*/ 923925 w 1620913"/>
                <a:gd name="connsiteY4" fmla="*/ 426244 h 1066799"/>
                <a:gd name="connsiteX5" fmla="*/ 621506 w 1620913"/>
                <a:gd name="connsiteY5" fmla="*/ 771524 h 1066799"/>
                <a:gd name="connsiteX6" fmla="*/ 0 w 1620913"/>
                <a:gd name="connsiteY6" fmla="*/ 538161 h 1066799"/>
                <a:gd name="connsiteX0" fmla="*/ 0 w 1620913"/>
                <a:gd name="connsiteY0" fmla="*/ 538161 h 1213299"/>
                <a:gd name="connsiteX1" fmla="*/ 0 w 1620913"/>
                <a:gd name="connsiteY1" fmla="*/ 1066799 h 1213299"/>
                <a:gd name="connsiteX2" fmla="*/ 1616869 w 1620913"/>
                <a:gd name="connsiteY2" fmla="*/ 409574 h 1213299"/>
                <a:gd name="connsiteX3" fmla="*/ 1323974 w 1620913"/>
                <a:gd name="connsiteY3" fmla="*/ 0 h 1213299"/>
                <a:gd name="connsiteX4" fmla="*/ 923925 w 1620913"/>
                <a:gd name="connsiteY4" fmla="*/ 426244 h 1213299"/>
                <a:gd name="connsiteX5" fmla="*/ 621506 w 1620913"/>
                <a:gd name="connsiteY5" fmla="*/ 771524 h 1213299"/>
                <a:gd name="connsiteX6" fmla="*/ 0 w 1620913"/>
                <a:gd name="connsiteY6" fmla="*/ 538161 h 121329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28230"/>
                <a:gd name="connsiteY0" fmla="*/ 538161 h 1218919"/>
                <a:gd name="connsiteX1" fmla="*/ 0 w 1628230"/>
                <a:gd name="connsiteY1" fmla="*/ 1066799 h 1218919"/>
                <a:gd name="connsiteX2" fmla="*/ 1616869 w 1628230"/>
                <a:gd name="connsiteY2" fmla="*/ 409574 h 1218919"/>
                <a:gd name="connsiteX3" fmla="*/ 1323974 w 1628230"/>
                <a:gd name="connsiteY3" fmla="*/ 0 h 1218919"/>
                <a:gd name="connsiteX4" fmla="*/ 923925 w 1628230"/>
                <a:gd name="connsiteY4" fmla="*/ 426244 h 1218919"/>
                <a:gd name="connsiteX5" fmla="*/ 621506 w 1628230"/>
                <a:gd name="connsiteY5" fmla="*/ 771524 h 1218919"/>
                <a:gd name="connsiteX6" fmla="*/ 0 w 1628230"/>
                <a:gd name="connsiteY6" fmla="*/ 538161 h 1218919"/>
                <a:gd name="connsiteX0" fmla="*/ 0 w 1632881"/>
                <a:gd name="connsiteY0" fmla="*/ 538161 h 1232035"/>
                <a:gd name="connsiteX1" fmla="*/ 0 w 1632881"/>
                <a:gd name="connsiteY1" fmla="*/ 1066799 h 1232035"/>
                <a:gd name="connsiteX2" fmla="*/ 1621631 w 1632881"/>
                <a:gd name="connsiteY2" fmla="*/ 523874 h 1232035"/>
                <a:gd name="connsiteX3" fmla="*/ 1323974 w 1632881"/>
                <a:gd name="connsiteY3" fmla="*/ 0 h 1232035"/>
                <a:gd name="connsiteX4" fmla="*/ 923925 w 1632881"/>
                <a:gd name="connsiteY4" fmla="*/ 426244 h 1232035"/>
                <a:gd name="connsiteX5" fmla="*/ 621506 w 1632881"/>
                <a:gd name="connsiteY5" fmla="*/ 771524 h 1232035"/>
                <a:gd name="connsiteX6" fmla="*/ 0 w 1632881"/>
                <a:gd name="connsiteY6" fmla="*/ 538161 h 1232035"/>
                <a:gd name="connsiteX0" fmla="*/ 0 w 1622936"/>
                <a:gd name="connsiteY0" fmla="*/ 538161 h 1236750"/>
                <a:gd name="connsiteX1" fmla="*/ 0 w 1622936"/>
                <a:gd name="connsiteY1" fmla="*/ 1066799 h 1236750"/>
                <a:gd name="connsiteX2" fmla="*/ 1621631 w 1622936"/>
                <a:gd name="connsiteY2" fmla="*/ 523874 h 1236750"/>
                <a:gd name="connsiteX3" fmla="*/ 1323974 w 1622936"/>
                <a:gd name="connsiteY3" fmla="*/ 0 h 1236750"/>
                <a:gd name="connsiteX4" fmla="*/ 923925 w 1622936"/>
                <a:gd name="connsiteY4" fmla="*/ 426244 h 1236750"/>
                <a:gd name="connsiteX5" fmla="*/ 621506 w 1622936"/>
                <a:gd name="connsiteY5" fmla="*/ 771524 h 1236750"/>
                <a:gd name="connsiteX6" fmla="*/ 0 w 1622936"/>
                <a:gd name="connsiteY6" fmla="*/ 538161 h 1236750"/>
                <a:gd name="connsiteX0" fmla="*/ 0 w 1627932"/>
                <a:gd name="connsiteY0" fmla="*/ 538161 h 1227283"/>
                <a:gd name="connsiteX1" fmla="*/ 0 w 1627932"/>
                <a:gd name="connsiteY1" fmla="*/ 1066799 h 1227283"/>
                <a:gd name="connsiteX2" fmla="*/ 1621631 w 1627932"/>
                <a:gd name="connsiteY2" fmla="*/ 523874 h 1227283"/>
                <a:gd name="connsiteX3" fmla="*/ 1323974 w 1627932"/>
                <a:gd name="connsiteY3" fmla="*/ 0 h 1227283"/>
                <a:gd name="connsiteX4" fmla="*/ 923925 w 1627932"/>
                <a:gd name="connsiteY4" fmla="*/ 426244 h 1227283"/>
                <a:gd name="connsiteX5" fmla="*/ 621506 w 1627932"/>
                <a:gd name="connsiteY5" fmla="*/ 771524 h 1227283"/>
                <a:gd name="connsiteX6" fmla="*/ 0 w 1627932"/>
                <a:gd name="connsiteY6" fmla="*/ 538161 h 1227283"/>
                <a:gd name="connsiteX0" fmla="*/ 0 w 1627932"/>
                <a:gd name="connsiteY0" fmla="*/ 538161 h 1066799"/>
                <a:gd name="connsiteX1" fmla="*/ 0 w 1627932"/>
                <a:gd name="connsiteY1" fmla="*/ 1066799 h 1066799"/>
                <a:gd name="connsiteX2" fmla="*/ 1621631 w 1627932"/>
                <a:gd name="connsiteY2" fmla="*/ 523874 h 1066799"/>
                <a:gd name="connsiteX3" fmla="*/ 1323974 w 1627932"/>
                <a:gd name="connsiteY3" fmla="*/ 0 h 1066799"/>
                <a:gd name="connsiteX4" fmla="*/ 923925 w 1627932"/>
                <a:gd name="connsiteY4" fmla="*/ 426244 h 1066799"/>
                <a:gd name="connsiteX5" fmla="*/ 621506 w 1627932"/>
                <a:gd name="connsiteY5" fmla="*/ 771524 h 1066799"/>
                <a:gd name="connsiteX6" fmla="*/ 0 w 1627932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066799"/>
                <a:gd name="connsiteX1" fmla="*/ 0 w 1627647"/>
                <a:gd name="connsiteY1" fmla="*/ 1066799 h 1066799"/>
                <a:gd name="connsiteX2" fmla="*/ 1621631 w 1627647"/>
                <a:gd name="connsiteY2" fmla="*/ 523874 h 1066799"/>
                <a:gd name="connsiteX3" fmla="*/ 1323974 w 1627647"/>
                <a:gd name="connsiteY3" fmla="*/ 0 h 1066799"/>
                <a:gd name="connsiteX4" fmla="*/ 923925 w 1627647"/>
                <a:gd name="connsiteY4" fmla="*/ 426244 h 1066799"/>
                <a:gd name="connsiteX5" fmla="*/ 621506 w 1627647"/>
                <a:gd name="connsiteY5" fmla="*/ 771524 h 1066799"/>
                <a:gd name="connsiteX6" fmla="*/ 0 w 1627647"/>
                <a:gd name="connsiteY6" fmla="*/ 538161 h 1066799"/>
                <a:gd name="connsiteX0" fmla="*/ 0 w 1627647"/>
                <a:gd name="connsiteY0" fmla="*/ 538161 h 1134969"/>
                <a:gd name="connsiteX1" fmla="*/ 0 w 1627647"/>
                <a:gd name="connsiteY1" fmla="*/ 1066799 h 1134969"/>
                <a:gd name="connsiteX2" fmla="*/ 1621631 w 1627647"/>
                <a:gd name="connsiteY2" fmla="*/ 523874 h 1134969"/>
                <a:gd name="connsiteX3" fmla="*/ 1323974 w 1627647"/>
                <a:gd name="connsiteY3" fmla="*/ 0 h 1134969"/>
                <a:gd name="connsiteX4" fmla="*/ 923925 w 1627647"/>
                <a:gd name="connsiteY4" fmla="*/ 426244 h 1134969"/>
                <a:gd name="connsiteX5" fmla="*/ 621506 w 1627647"/>
                <a:gd name="connsiteY5" fmla="*/ 771524 h 1134969"/>
                <a:gd name="connsiteX6" fmla="*/ 0 w 1627647"/>
                <a:gd name="connsiteY6" fmla="*/ 538161 h 1134969"/>
                <a:gd name="connsiteX0" fmla="*/ 0 w 1627647"/>
                <a:gd name="connsiteY0" fmla="*/ 538161 h 1213483"/>
                <a:gd name="connsiteX1" fmla="*/ 0 w 1627647"/>
                <a:gd name="connsiteY1" fmla="*/ 1066799 h 1213483"/>
                <a:gd name="connsiteX2" fmla="*/ 1621631 w 1627647"/>
                <a:gd name="connsiteY2" fmla="*/ 523874 h 1213483"/>
                <a:gd name="connsiteX3" fmla="*/ 1323974 w 1627647"/>
                <a:gd name="connsiteY3" fmla="*/ 0 h 1213483"/>
                <a:gd name="connsiteX4" fmla="*/ 923925 w 1627647"/>
                <a:gd name="connsiteY4" fmla="*/ 426244 h 1213483"/>
                <a:gd name="connsiteX5" fmla="*/ 621506 w 1627647"/>
                <a:gd name="connsiteY5" fmla="*/ 771524 h 1213483"/>
                <a:gd name="connsiteX6" fmla="*/ 0 w 1627647"/>
                <a:gd name="connsiteY6" fmla="*/ 538161 h 1213483"/>
                <a:gd name="connsiteX0" fmla="*/ 0 w 1627647"/>
                <a:gd name="connsiteY0" fmla="*/ 538161 h 1190326"/>
                <a:gd name="connsiteX1" fmla="*/ 0 w 1627647"/>
                <a:gd name="connsiteY1" fmla="*/ 1066799 h 1190326"/>
                <a:gd name="connsiteX2" fmla="*/ 1621631 w 1627647"/>
                <a:gd name="connsiteY2" fmla="*/ 523874 h 1190326"/>
                <a:gd name="connsiteX3" fmla="*/ 1323974 w 1627647"/>
                <a:gd name="connsiteY3" fmla="*/ 0 h 1190326"/>
                <a:gd name="connsiteX4" fmla="*/ 923925 w 1627647"/>
                <a:gd name="connsiteY4" fmla="*/ 426244 h 1190326"/>
                <a:gd name="connsiteX5" fmla="*/ 621506 w 1627647"/>
                <a:gd name="connsiteY5" fmla="*/ 771524 h 1190326"/>
                <a:gd name="connsiteX6" fmla="*/ 0 w 1627647"/>
                <a:gd name="connsiteY6" fmla="*/ 538161 h 1190326"/>
                <a:gd name="connsiteX0" fmla="*/ 0 w 1627647"/>
                <a:gd name="connsiteY0" fmla="*/ 538161 h 1219698"/>
                <a:gd name="connsiteX1" fmla="*/ 0 w 1627647"/>
                <a:gd name="connsiteY1" fmla="*/ 1066799 h 1219698"/>
                <a:gd name="connsiteX2" fmla="*/ 1621631 w 1627647"/>
                <a:gd name="connsiteY2" fmla="*/ 523874 h 1219698"/>
                <a:gd name="connsiteX3" fmla="*/ 1323974 w 1627647"/>
                <a:gd name="connsiteY3" fmla="*/ 0 h 1219698"/>
                <a:gd name="connsiteX4" fmla="*/ 923925 w 1627647"/>
                <a:gd name="connsiteY4" fmla="*/ 426244 h 1219698"/>
                <a:gd name="connsiteX5" fmla="*/ 621506 w 1627647"/>
                <a:gd name="connsiteY5" fmla="*/ 771524 h 1219698"/>
                <a:gd name="connsiteX6" fmla="*/ 0 w 1627647"/>
                <a:gd name="connsiteY6" fmla="*/ 538161 h 1219698"/>
                <a:gd name="connsiteX0" fmla="*/ 0 w 1627647"/>
                <a:gd name="connsiteY0" fmla="*/ 538161 h 1232307"/>
                <a:gd name="connsiteX1" fmla="*/ 0 w 1627647"/>
                <a:gd name="connsiteY1" fmla="*/ 1066799 h 1232307"/>
                <a:gd name="connsiteX2" fmla="*/ 1621631 w 1627647"/>
                <a:gd name="connsiteY2" fmla="*/ 523874 h 1232307"/>
                <a:gd name="connsiteX3" fmla="*/ 1323974 w 1627647"/>
                <a:gd name="connsiteY3" fmla="*/ 0 h 1232307"/>
                <a:gd name="connsiteX4" fmla="*/ 923925 w 1627647"/>
                <a:gd name="connsiteY4" fmla="*/ 426244 h 1232307"/>
                <a:gd name="connsiteX5" fmla="*/ 621506 w 1627647"/>
                <a:gd name="connsiteY5" fmla="*/ 771524 h 1232307"/>
                <a:gd name="connsiteX6" fmla="*/ 0 w 1627647"/>
                <a:gd name="connsiteY6" fmla="*/ 538161 h 1232307"/>
                <a:gd name="connsiteX0" fmla="*/ 0 w 1627647"/>
                <a:gd name="connsiteY0" fmla="*/ 538161 h 1217230"/>
                <a:gd name="connsiteX1" fmla="*/ 0 w 1627647"/>
                <a:gd name="connsiteY1" fmla="*/ 1066799 h 1217230"/>
                <a:gd name="connsiteX2" fmla="*/ 1621631 w 1627647"/>
                <a:gd name="connsiteY2" fmla="*/ 523874 h 1217230"/>
                <a:gd name="connsiteX3" fmla="*/ 1323974 w 1627647"/>
                <a:gd name="connsiteY3" fmla="*/ 0 h 1217230"/>
                <a:gd name="connsiteX4" fmla="*/ 923925 w 1627647"/>
                <a:gd name="connsiteY4" fmla="*/ 426244 h 1217230"/>
                <a:gd name="connsiteX5" fmla="*/ 621506 w 1627647"/>
                <a:gd name="connsiteY5" fmla="*/ 771524 h 1217230"/>
                <a:gd name="connsiteX6" fmla="*/ 0 w 1627647"/>
                <a:gd name="connsiteY6" fmla="*/ 538161 h 1217230"/>
                <a:gd name="connsiteX0" fmla="*/ 0 w 1627647"/>
                <a:gd name="connsiteY0" fmla="*/ 538161 h 1188997"/>
                <a:gd name="connsiteX1" fmla="*/ 0 w 1627647"/>
                <a:gd name="connsiteY1" fmla="*/ 1066799 h 1188997"/>
                <a:gd name="connsiteX2" fmla="*/ 1621631 w 1627647"/>
                <a:gd name="connsiteY2" fmla="*/ 523874 h 1188997"/>
                <a:gd name="connsiteX3" fmla="*/ 1323974 w 1627647"/>
                <a:gd name="connsiteY3" fmla="*/ 0 h 1188997"/>
                <a:gd name="connsiteX4" fmla="*/ 923925 w 1627647"/>
                <a:gd name="connsiteY4" fmla="*/ 426244 h 1188997"/>
                <a:gd name="connsiteX5" fmla="*/ 621506 w 1627647"/>
                <a:gd name="connsiteY5" fmla="*/ 771524 h 1188997"/>
                <a:gd name="connsiteX6" fmla="*/ 0 w 1627647"/>
                <a:gd name="connsiteY6" fmla="*/ 538161 h 1188997"/>
                <a:gd name="connsiteX0" fmla="*/ 0 w 1627647"/>
                <a:gd name="connsiteY0" fmla="*/ 538161 h 1216261"/>
                <a:gd name="connsiteX1" fmla="*/ 0 w 1627647"/>
                <a:gd name="connsiteY1" fmla="*/ 1066799 h 1216261"/>
                <a:gd name="connsiteX2" fmla="*/ 1621631 w 1627647"/>
                <a:gd name="connsiteY2" fmla="*/ 523874 h 1216261"/>
                <a:gd name="connsiteX3" fmla="*/ 1323974 w 1627647"/>
                <a:gd name="connsiteY3" fmla="*/ 0 h 1216261"/>
                <a:gd name="connsiteX4" fmla="*/ 923925 w 1627647"/>
                <a:gd name="connsiteY4" fmla="*/ 426244 h 1216261"/>
                <a:gd name="connsiteX5" fmla="*/ 621506 w 1627647"/>
                <a:gd name="connsiteY5" fmla="*/ 771524 h 1216261"/>
                <a:gd name="connsiteX6" fmla="*/ 0 w 1627647"/>
                <a:gd name="connsiteY6" fmla="*/ 538161 h 1216261"/>
                <a:gd name="connsiteX0" fmla="*/ 0 w 1627647"/>
                <a:gd name="connsiteY0" fmla="*/ 538161 h 1206398"/>
                <a:gd name="connsiteX1" fmla="*/ 0 w 1627647"/>
                <a:gd name="connsiteY1" fmla="*/ 1066799 h 1206398"/>
                <a:gd name="connsiteX2" fmla="*/ 1621631 w 1627647"/>
                <a:gd name="connsiteY2" fmla="*/ 523874 h 1206398"/>
                <a:gd name="connsiteX3" fmla="*/ 1323974 w 1627647"/>
                <a:gd name="connsiteY3" fmla="*/ 0 h 1206398"/>
                <a:gd name="connsiteX4" fmla="*/ 923925 w 1627647"/>
                <a:gd name="connsiteY4" fmla="*/ 426244 h 1206398"/>
                <a:gd name="connsiteX5" fmla="*/ 621506 w 1627647"/>
                <a:gd name="connsiteY5" fmla="*/ 771524 h 1206398"/>
                <a:gd name="connsiteX6" fmla="*/ 0 w 1627647"/>
                <a:gd name="connsiteY6" fmla="*/ 538161 h 1206398"/>
                <a:gd name="connsiteX0" fmla="*/ 0 w 1627647"/>
                <a:gd name="connsiteY0" fmla="*/ 538161 h 1218880"/>
                <a:gd name="connsiteX1" fmla="*/ 0 w 1627647"/>
                <a:gd name="connsiteY1" fmla="*/ 1066799 h 1218880"/>
                <a:gd name="connsiteX2" fmla="*/ 1621631 w 1627647"/>
                <a:gd name="connsiteY2" fmla="*/ 523874 h 1218880"/>
                <a:gd name="connsiteX3" fmla="*/ 1323974 w 1627647"/>
                <a:gd name="connsiteY3" fmla="*/ 0 h 1218880"/>
                <a:gd name="connsiteX4" fmla="*/ 923925 w 1627647"/>
                <a:gd name="connsiteY4" fmla="*/ 426244 h 1218880"/>
                <a:gd name="connsiteX5" fmla="*/ 621506 w 1627647"/>
                <a:gd name="connsiteY5" fmla="*/ 771524 h 1218880"/>
                <a:gd name="connsiteX6" fmla="*/ 0 w 1627647"/>
                <a:gd name="connsiteY6" fmla="*/ 538161 h 1218880"/>
                <a:gd name="connsiteX0" fmla="*/ 0 w 1627647"/>
                <a:gd name="connsiteY0" fmla="*/ 538161 h 1211596"/>
                <a:gd name="connsiteX1" fmla="*/ 0 w 1627647"/>
                <a:gd name="connsiteY1" fmla="*/ 1066799 h 1211596"/>
                <a:gd name="connsiteX2" fmla="*/ 1621631 w 1627647"/>
                <a:gd name="connsiteY2" fmla="*/ 523874 h 1211596"/>
                <a:gd name="connsiteX3" fmla="*/ 1323974 w 1627647"/>
                <a:gd name="connsiteY3" fmla="*/ 0 h 1211596"/>
                <a:gd name="connsiteX4" fmla="*/ 923925 w 1627647"/>
                <a:gd name="connsiteY4" fmla="*/ 426244 h 1211596"/>
                <a:gd name="connsiteX5" fmla="*/ 621506 w 1627647"/>
                <a:gd name="connsiteY5" fmla="*/ 771524 h 1211596"/>
                <a:gd name="connsiteX6" fmla="*/ 0 w 1627647"/>
                <a:gd name="connsiteY6" fmla="*/ 538161 h 1211596"/>
                <a:gd name="connsiteX0" fmla="*/ 0 w 1627647"/>
                <a:gd name="connsiteY0" fmla="*/ 538161 h 1217962"/>
                <a:gd name="connsiteX1" fmla="*/ 0 w 1627647"/>
                <a:gd name="connsiteY1" fmla="*/ 1066799 h 1217962"/>
                <a:gd name="connsiteX2" fmla="*/ 1621631 w 1627647"/>
                <a:gd name="connsiteY2" fmla="*/ 523874 h 1217962"/>
                <a:gd name="connsiteX3" fmla="*/ 1323974 w 1627647"/>
                <a:gd name="connsiteY3" fmla="*/ 0 h 1217962"/>
                <a:gd name="connsiteX4" fmla="*/ 923925 w 1627647"/>
                <a:gd name="connsiteY4" fmla="*/ 426244 h 1217962"/>
                <a:gd name="connsiteX5" fmla="*/ 621506 w 1627647"/>
                <a:gd name="connsiteY5" fmla="*/ 771524 h 1217962"/>
                <a:gd name="connsiteX6" fmla="*/ 0 w 1627647"/>
                <a:gd name="connsiteY6" fmla="*/ 538161 h 1217962"/>
                <a:gd name="connsiteX0" fmla="*/ 0 w 1627647"/>
                <a:gd name="connsiteY0" fmla="*/ 538161 h 1218399"/>
                <a:gd name="connsiteX1" fmla="*/ 0 w 1627647"/>
                <a:gd name="connsiteY1" fmla="*/ 1066799 h 1218399"/>
                <a:gd name="connsiteX2" fmla="*/ 1621631 w 1627647"/>
                <a:gd name="connsiteY2" fmla="*/ 523874 h 1218399"/>
                <a:gd name="connsiteX3" fmla="*/ 1323974 w 1627647"/>
                <a:gd name="connsiteY3" fmla="*/ 0 h 1218399"/>
                <a:gd name="connsiteX4" fmla="*/ 923925 w 1627647"/>
                <a:gd name="connsiteY4" fmla="*/ 426244 h 1218399"/>
                <a:gd name="connsiteX5" fmla="*/ 621506 w 1627647"/>
                <a:gd name="connsiteY5" fmla="*/ 771524 h 1218399"/>
                <a:gd name="connsiteX6" fmla="*/ 0 w 1627647"/>
                <a:gd name="connsiteY6" fmla="*/ 538161 h 121839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23925 w 1627647"/>
                <a:gd name="connsiteY4" fmla="*/ 426244 h 1212839"/>
                <a:gd name="connsiteX5" fmla="*/ 621506 w 1627647"/>
                <a:gd name="connsiteY5" fmla="*/ 771524 h 1212839"/>
                <a:gd name="connsiteX6" fmla="*/ 0 w 1627647"/>
                <a:gd name="connsiteY6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1078707 w 1627647"/>
                <a:gd name="connsiteY4" fmla="*/ 257177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595313 w 1627647"/>
                <a:gd name="connsiteY4" fmla="*/ 185739 h 1212839"/>
                <a:gd name="connsiteX5" fmla="*/ 923925 w 1627647"/>
                <a:gd name="connsiteY5" fmla="*/ 426244 h 1212839"/>
                <a:gd name="connsiteX6" fmla="*/ 621506 w 1627647"/>
                <a:gd name="connsiteY6" fmla="*/ 771524 h 1212839"/>
                <a:gd name="connsiteX7" fmla="*/ 0 w 1627647"/>
                <a:gd name="connsiteY7" fmla="*/ 538161 h 1212839"/>
                <a:gd name="connsiteX0" fmla="*/ 0 w 1627647"/>
                <a:gd name="connsiteY0" fmla="*/ 538161 h 1212839"/>
                <a:gd name="connsiteX1" fmla="*/ 0 w 1627647"/>
                <a:gd name="connsiteY1" fmla="*/ 1066799 h 1212839"/>
                <a:gd name="connsiteX2" fmla="*/ 1621631 w 1627647"/>
                <a:gd name="connsiteY2" fmla="*/ 523874 h 1212839"/>
                <a:gd name="connsiteX3" fmla="*/ 1323974 w 1627647"/>
                <a:gd name="connsiteY3" fmla="*/ 0 h 1212839"/>
                <a:gd name="connsiteX4" fmla="*/ 973932 w 1627647"/>
                <a:gd name="connsiteY4" fmla="*/ 85727 h 1212839"/>
                <a:gd name="connsiteX5" fmla="*/ 595313 w 1627647"/>
                <a:gd name="connsiteY5" fmla="*/ 185739 h 1212839"/>
                <a:gd name="connsiteX6" fmla="*/ 923925 w 1627647"/>
                <a:gd name="connsiteY6" fmla="*/ 426244 h 1212839"/>
                <a:gd name="connsiteX7" fmla="*/ 621506 w 1627647"/>
                <a:gd name="connsiteY7" fmla="*/ 771524 h 1212839"/>
                <a:gd name="connsiteX8" fmla="*/ 0 w 1627647"/>
                <a:gd name="connsiteY8" fmla="*/ 538161 h 1212839"/>
                <a:gd name="connsiteX0" fmla="*/ 0 w 1627647"/>
                <a:gd name="connsiteY0" fmla="*/ 745328 h 1420006"/>
                <a:gd name="connsiteX1" fmla="*/ 0 w 1627647"/>
                <a:gd name="connsiteY1" fmla="*/ 1273966 h 1420006"/>
                <a:gd name="connsiteX2" fmla="*/ 1621631 w 1627647"/>
                <a:gd name="connsiteY2" fmla="*/ 731041 h 1420006"/>
                <a:gd name="connsiteX3" fmla="*/ 1323974 w 1627647"/>
                <a:gd name="connsiteY3" fmla="*/ 207167 h 1420006"/>
                <a:gd name="connsiteX4" fmla="*/ 835820 w 1627647"/>
                <a:gd name="connsiteY4" fmla="*/ 0 h 1420006"/>
                <a:gd name="connsiteX5" fmla="*/ 595313 w 1627647"/>
                <a:gd name="connsiteY5" fmla="*/ 392906 h 1420006"/>
                <a:gd name="connsiteX6" fmla="*/ 923925 w 1627647"/>
                <a:gd name="connsiteY6" fmla="*/ 633411 h 1420006"/>
                <a:gd name="connsiteX7" fmla="*/ 621506 w 1627647"/>
                <a:gd name="connsiteY7" fmla="*/ 978691 h 1420006"/>
                <a:gd name="connsiteX8" fmla="*/ 0 w 1627647"/>
                <a:gd name="connsiteY8" fmla="*/ 745328 h 1420006"/>
                <a:gd name="connsiteX0" fmla="*/ 0 w 1591281"/>
                <a:gd name="connsiteY0" fmla="*/ 745328 h 1469663"/>
                <a:gd name="connsiteX1" fmla="*/ 0 w 1591281"/>
                <a:gd name="connsiteY1" fmla="*/ 1273966 h 1469663"/>
                <a:gd name="connsiteX2" fmla="*/ 1574006 w 1591281"/>
                <a:gd name="connsiteY2" fmla="*/ 928685 h 1469663"/>
                <a:gd name="connsiteX3" fmla="*/ 1323974 w 1591281"/>
                <a:gd name="connsiteY3" fmla="*/ 207167 h 1469663"/>
                <a:gd name="connsiteX4" fmla="*/ 835820 w 1591281"/>
                <a:gd name="connsiteY4" fmla="*/ 0 h 1469663"/>
                <a:gd name="connsiteX5" fmla="*/ 595313 w 1591281"/>
                <a:gd name="connsiteY5" fmla="*/ 392906 h 1469663"/>
                <a:gd name="connsiteX6" fmla="*/ 923925 w 1591281"/>
                <a:gd name="connsiteY6" fmla="*/ 633411 h 1469663"/>
                <a:gd name="connsiteX7" fmla="*/ 621506 w 1591281"/>
                <a:gd name="connsiteY7" fmla="*/ 978691 h 1469663"/>
                <a:gd name="connsiteX8" fmla="*/ 0 w 1591281"/>
                <a:gd name="connsiteY8" fmla="*/ 745328 h 1469663"/>
                <a:gd name="connsiteX0" fmla="*/ 0 w 1591281"/>
                <a:gd name="connsiteY0" fmla="*/ 745328 h 1425021"/>
                <a:gd name="connsiteX1" fmla="*/ 0 w 1591281"/>
                <a:gd name="connsiteY1" fmla="*/ 1273966 h 1425021"/>
                <a:gd name="connsiteX2" fmla="*/ 1574006 w 1591281"/>
                <a:gd name="connsiteY2" fmla="*/ 928685 h 1425021"/>
                <a:gd name="connsiteX3" fmla="*/ 1323974 w 1591281"/>
                <a:gd name="connsiteY3" fmla="*/ 207167 h 1425021"/>
                <a:gd name="connsiteX4" fmla="*/ 835820 w 1591281"/>
                <a:gd name="connsiteY4" fmla="*/ 0 h 1425021"/>
                <a:gd name="connsiteX5" fmla="*/ 595313 w 1591281"/>
                <a:gd name="connsiteY5" fmla="*/ 392906 h 1425021"/>
                <a:gd name="connsiteX6" fmla="*/ 923925 w 1591281"/>
                <a:gd name="connsiteY6" fmla="*/ 633411 h 1425021"/>
                <a:gd name="connsiteX7" fmla="*/ 621506 w 1591281"/>
                <a:gd name="connsiteY7" fmla="*/ 978691 h 1425021"/>
                <a:gd name="connsiteX8" fmla="*/ 0 w 1591281"/>
                <a:gd name="connsiteY8" fmla="*/ 745328 h 1425021"/>
                <a:gd name="connsiteX0" fmla="*/ 0 w 1622856"/>
                <a:gd name="connsiteY0" fmla="*/ 745328 h 1425021"/>
                <a:gd name="connsiteX1" fmla="*/ 0 w 1622856"/>
                <a:gd name="connsiteY1" fmla="*/ 1273966 h 1425021"/>
                <a:gd name="connsiteX2" fmla="*/ 1574006 w 1622856"/>
                <a:gd name="connsiteY2" fmla="*/ 928685 h 1425021"/>
                <a:gd name="connsiteX3" fmla="*/ 1323974 w 1622856"/>
                <a:gd name="connsiteY3" fmla="*/ 207167 h 1425021"/>
                <a:gd name="connsiteX4" fmla="*/ 835820 w 1622856"/>
                <a:gd name="connsiteY4" fmla="*/ 0 h 1425021"/>
                <a:gd name="connsiteX5" fmla="*/ 595313 w 1622856"/>
                <a:gd name="connsiteY5" fmla="*/ 392906 h 1425021"/>
                <a:gd name="connsiteX6" fmla="*/ 923925 w 1622856"/>
                <a:gd name="connsiteY6" fmla="*/ 633411 h 1425021"/>
                <a:gd name="connsiteX7" fmla="*/ 621506 w 1622856"/>
                <a:gd name="connsiteY7" fmla="*/ 978691 h 1425021"/>
                <a:gd name="connsiteX8" fmla="*/ 0 w 1622856"/>
                <a:gd name="connsiteY8" fmla="*/ 745328 h 1425021"/>
                <a:gd name="connsiteX0" fmla="*/ 0 w 1608710"/>
                <a:gd name="connsiteY0" fmla="*/ 745328 h 1425021"/>
                <a:gd name="connsiteX1" fmla="*/ 0 w 1608710"/>
                <a:gd name="connsiteY1" fmla="*/ 1273966 h 1425021"/>
                <a:gd name="connsiteX2" fmla="*/ 1574006 w 1608710"/>
                <a:gd name="connsiteY2" fmla="*/ 928685 h 1425021"/>
                <a:gd name="connsiteX3" fmla="*/ 1264443 w 1608710"/>
                <a:gd name="connsiteY3" fmla="*/ 166686 h 1425021"/>
                <a:gd name="connsiteX4" fmla="*/ 835820 w 1608710"/>
                <a:gd name="connsiteY4" fmla="*/ 0 h 1425021"/>
                <a:gd name="connsiteX5" fmla="*/ 595313 w 1608710"/>
                <a:gd name="connsiteY5" fmla="*/ 392906 h 1425021"/>
                <a:gd name="connsiteX6" fmla="*/ 923925 w 1608710"/>
                <a:gd name="connsiteY6" fmla="*/ 633411 h 1425021"/>
                <a:gd name="connsiteX7" fmla="*/ 621506 w 1608710"/>
                <a:gd name="connsiteY7" fmla="*/ 978691 h 1425021"/>
                <a:gd name="connsiteX8" fmla="*/ 0 w 1608710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595313 w 1623138"/>
                <a:gd name="connsiteY5" fmla="*/ 392906 h 1425021"/>
                <a:gd name="connsiteX6" fmla="*/ 923925 w 1623138"/>
                <a:gd name="connsiteY6" fmla="*/ 633411 h 1425021"/>
                <a:gd name="connsiteX7" fmla="*/ 621506 w 1623138"/>
                <a:gd name="connsiteY7" fmla="*/ 978691 h 1425021"/>
                <a:gd name="connsiteX8" fmla="*/ 0 w 1623138"/>
                <a:gd name="connsiteY8" fmla="*/ 745328 h 1425021"/>
                <a:gd name="connsiteX0" fmla="*/ 0 w 1623138"/>
                <a:gd name="connsiteY0" fmla="*/ 745328 h 1425021"/>
                <a:gd name="connsiteX1" fmla="*/ 0 w 1623138"/>
                <a:gd name="connsiteY1" fmla="*/ 1273966 h 1425021"/>
                <a:gd name="connsiteX2" fmla="*/ 1574006 w 1623138"/>
                <a:gd name="connsiteY2" fmla="*/ 928685 h 1425021"/>
                <a:gd name="connsiteX3" fmla="*/ 1264443 w 1623138"/>
                <a:gd name="connsiteY3" fmla="*/ 166686 h 1425021"/>
                <a:gd name="connsiteX4" fmla="*/ 835820 w 1623138"/>
                <a:gd name="connsiteY4" fmla="*/ 0 h 1425021"/>
                <a:gd name="connsiteX5" fmla="*/ 709613 w 1623138"/>
                <a:gd name="connsiteY5" fmla="*/ 207169 h 1425021"/>
                <a:gd name="connsiteX6" fmla="*/ 595313 w 1623138"/>
                <a:gd name="connsiteY6" fmla="*/ 392906 h 1425021"/>
                <a:gd name="connsiteX7" fmla="*/ 923925 w 1623138"/>
                <a:gd name="connsiteY7" fmla="*/ 633411 h 1425021"/>
                <a:gd name="connsiteX8" fmla="*/ 621506 w 1623138"/>
                <a:gd name="connsiteY8" fmla="*/ 978691 h 1425021"/>
                <a:gd name="connsiteX9" fmla="*/ 0 w 1623138"/>
                <a:gd name="connsiteY9" fmla="*/ 745328 h 1425021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421482 w 1623138"/>
                <a:gd name="connsiteY5" fmla="*/ 0 h 1477409"/>
                <a:gd name="connsiteX6" fmla="*/ 595313 w 1623138"/>
                <a:gd name="connsiteY6" fmla="*/ 445294 h 1477409"/>
                <a:gd name="connsiteX7" fmla="*/ 923925 w 1623138"/>
                <a:gd name="connsiteY7" fmla="*/ 685799 h 1477409"/>
                <a:gd name="connsiteX8" fmla="*/ 621506 w 1623138"/>
                <a:gd name="connsiteY8" fmla="*/ 1031079 h 1477409"/>
                <a:gd name="connsiteX9" fmla="*/ 0 w 1623138"/>
                <a:gd name="connsiteY9" fmla="*/ 797716 h 1477409"/>
                <a:gd name="connsiteX0" fmla="*/ 0 w 1623138"/>
                <a:gd name="connsiteY0" fmla="*/ 797716 h 1477409"/>
                <a:gd name="connsiteX1" fmla="*/ 0 w 1623138"/>
                <a:gd name="connsiteY1" fmla="*/ 1326354 h 1477409"/>
                <a:gd name="connsiteX2" fmla="*/ 1574006 w 1623138"/>
                <a:gd name="connsiteY2" fmla="*/ 981073 h 1477409"/>
                <a:gd name="connsiteX3" fmla="*/ 1264443 w 1623138"/>
                <a:gd name="connsiteY3" fmla="*/ 219074 h 1477409"/>
                <a:gd name="connsiteX4" fmla="*/ 835820 w 1623138"/>
                <a:gd name="connsiteY4" fmla="*/ 52388 h 1477409"/>
                <a:gd name="connsiteX5" fmla="*/ 654844 w 1623138"/>
                <a:gd name="connsiteY5" fmla="*/ 26194 h 1477409"/>
                <a:gd name="connsiteX6" fmla="*/ 421482 w 1623138"/>
                <a:gd name="connsiteY6" fmla="*/ 0 h 1477409"/>
                <a:gd name="connsiteX7" fmla="*/ 595313 w 1623138"/>
                <a:gd name="connsiteY7" fmla="*/ 445294 h 1477409"/>
                <a:gd name="connsiteX8" fmla="*/ 923925 w 1623138"/>
                <a:gd name="connsiteY8" fmla="*/ 685799 h 1477409"/>
                <a:gd name="connsiteX9" fmla="*/ 621506 w 1623138"/>
                <a:gd name="connsiteY9" fmla="*/ 1031079 h 1477409"/>
                <a:gd name="connsiteX10" fmla="*/ 0 w 1623138"/>
                <a:gd name="connsiteY10" fmla="*/ 797716 h 1477409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798877"/>
                <a:gd name="connsiteX1" fmla="*/ 0 w 1623138"/>
                <a:gd name="connsiteY1" fmla="*/ 1647822 h 1798877"/>
                <a:gd name="connsiteX2" fmla="*/ 1574006 w 1623138"/>
                <a:gd name="connsiteY2" fmla="*/ 1302541 h 1798877"/>
                <a:gd name="connsiteX3" fmla="*/ 1264443 w 1623138"/>
                <a:gd name="connsiteY3" fmla="*/ 540542 h 1798877"/>
                <a:gd name="connsiteX4" fmla="*/ 835820 w 1623138"/>
                <a:gd name="connsiteY4" fmla="*/ 373856 h 1798877"/>
                <a:gd name="connsiteX5" fmla="*/ 807244 w 1623138"/>
                <a:gd name="connsiteY5" fmla="*/ 0 h 1798877"/>
                <a:gd name="connsiteX6" fmla="*/ 421482 w 1623138"/>
                <a:gd name="connsiteY6" fmla="*/ 321468 h 1798877"/>
                <a:gd name="connsiteX7" fmla="*/ 595313 w 1623138"/>
                <a:gd name="connsiteY7" fmla="*/ 766762 h 1798877"/>
                <a:gd name="connsiteX8" fmla="*/ 923925 w 1623138"/>
                <a:gd name="connsiteY8" fmla="*/ 1007267 h 1798877"/>
                <a:gd name="connsiteX9" fmla="*/ 621506 w 1623138"/>
                <a:gd name="connsiteY9" fmla="*/ 1352547 h 1798877"/>
                <a:gd name="connsiteX10" fmla="*/ 0 w 1623138"/>
                <a:gd name="connsiteY10" fmla="*/ 1119184 h 1798877"/>
                <a:gd name="connsiteX0" fmla="*/ 0 w 1623138"/>
                <a:gd name="connsiteY0" fmla="*/ 1119184 h 1652572"/>
                <a:gd name="connsiteX1" fmla="*/ 0 w 1623138"/>
                <a:gd name="connsiteY1" fmla="*/ 1647822 h 1652572"/>
                <a:gd name="connsiteX2" fmla="*/ 1574006 w 1623138"/>
                <a:gd name="connsiteY2" fmla="*/ 1302541 h 1652572"/>
                <a:gd name="connsiteX3" fmla="*/ 1264443 w 1623138"/>
                <a:gd name="connsiteY3" fmla="*/ 540542 h 1652572"/>
                <a:gd name="connsiteX4" fmla="*/ 835820 w 1623138"/>
                <a:gd name="connsiteY4" fmla="*/ 373856 h 1652572"/>
                <a:gd name="connsiteX5" fmla="*/ 807244 w 1623138"/>
                <a:gd name="connsiteY5" fmla="*/ 0 h 1652572"/>
                <a:gd name="connsiteX6" fmla="*/ 421482 w 1623138"/>
                <a:gd name="connsiteY6" fmla="*/ 321468 h 1652572"/>
                <a:gd name="connsiteX7" fmla="*/ 595313 w 1623138"/>
                <a:gd name="connsiteY7" fmla="*/ 766762 h 1652572"/>
                <a:gd name="connsiteX8" fmla="*/ 923925 w 1623138"/>
                <a:gd name="connsiteY8" fmla="*/ 1007267 h 1652572"/>
                <a:gd name="connsiteX9" fmla="*/ 621506 w 1623138"/>
                <a:gd name="connsiteY9" fmla="*/ 1352547 h 1652572"/>
                <a:gd name="connsiteX10" fmla="*/ 0 w 1623138"/>
                <a:gd name="connsiteY10" fmla="*/ 1119184 h 1652572"/>
                <a:gd name="connsiteX0" fmla="*/ 0 w 1627271"/>
                <a:gd name="connsiteY0" fmla="*/ 1119184 h 1712926"/>
                <a:gd name="connsiteX1" fmla="*/ 0 w 1627271"/>
                <a:gd name="connsiteY1" fmla="*/ 1647822 h 1712926"/>
                <a:gd name="connsiteX2" fmla="*/ 1574006 w 1627271"/>
                <a:gd name="connsiteY2" fmla="*/ 1302541 h 1712926"/>
                <a:gd name="connsiteX3" fmla="*/ 1264443 w 1627271"/>
                <a:gd name="connsiteY3" fmla="*/ 540542 h 1712926"/>
                <a:gd name="connsiteX4" fmla="*/ 835820 w 1627271"/>
                <a:gd name="connsiteY4" fmla="*/ 373856 h 1712926"/>
                <a:gd name="connsiteX5" fmla="*/ 807244 w 1627271"/>
                <a:gd name="connsiteY5" fmla="*/ 0 h 1712926"/>
                <a:gd name="connsiteX6" fmla="*/ 421482 w 1627271"/>
                <a:gd name="connsiteY6" fmla="*/ 321468 h 1712926"/>
                <a:gd name="connsiteX7" fmla="*/ 595313 w 1627271"/>
                <a:gd name="connsiteY7" fmla="*/ 766762 h 1712926"/>
                <a:gd name="connsiteX8" fmla="*/ 923925 w 1627271"/>
                <a:gd name="connsiteY8" fmla="*/ 1007267 h 1712926"/>
                <a:gd name="connsiteX9" fmla="*/ 621506 w 1627271"/>
                <a:gd name="connsiteY9" fmla="*/ 1352547 h 1712926"/>
                <a:gd name="connsiteX10" fmla="*/ 0 w 1627271"/>
                <a:gd name="connsiteY10" fmla="*/ 1119184 h 1712926"/>
                <a:gd name="connsiteX0" fmla="*/ 0 w 1627271"/>
                <a:gd name="connsiteY0" fmla="*/ 1119184 h 1797816"/>
                <a:gd name="connsiteX1" fmla="*/ 0 w 1627271"/>
                <a:gd name="connsiteY1" fmla="*/ 1647822 h 1797816"/>
                <a:gd name="connsiteX2" fmla="*/ 1574006 w 1627271"/>
                <a:gd name="connsiteY2" fmla="*/ 1302541 h 1797816"/>
                <a:gd name="connsiteX3" fmla="*/ 1264443 w 1627271"/>
                <a:gd name="connsiteY3" fmla="*/ 540542 h 1797816"/>
                <a:gd name="connsiteX4" fmla="*/ 835820 w 1627271"/>
                <a:gd name="connsiteY4" fmla="*/ 373856 h 1797816"/>
                <a:gd name="connsiteX5" fmla="*/ 807244 w 1627271"/>
                <a:gd name="connsiteY5" fmla="*/ 0 h 1797816"/>
                <a:gd name="connsiteX6" fmla="*/ 421482 w 1627271"/>
                <a:gd name="connsiteY6" fmla="*/ 321468 h 1797816"/>
                <a:gd name="connsiteX7" fmla="*/ 595313 w 1627271"/>
                <a:gd name="connsiteY7" fmla="*/ 766762 h 1797816"/>
                <a:gd name="connsiteX8" fmla="*/ 923925 w 1627271"/>
                <a:gd name="connsiteY8" fmla="*/ 1007267 h 1797816"/>
                <a:gd name="connsiteX9" fmla="*/ 621506 w 1627271"/>
                <a:gd name="connsiteY9" fmla="*/ 1352547 h 1797816"/>
                <a:gd name="connsiteX10" fmla="*/ 0 w 1627271"/>
                <a:gd name="connsiteY10" fmla="*/ 1119184 h 1797816"/>
                <a:gd name="connsiteX0" fmla="*/ 0 w 1622231"/>
                <a:gd name="connsiteY0" fmla="*/ 1119184 h 1773253"/>
                <a:gd name="connsiteX1" fmla="*/ 0 w 1622231"/>
                <a:gd name="connsiteY1" fmla="*/ 1647822 h 1773253"/>
                <a:gd name="connsiteX2" fmla="*/ 1574006 w 1622231"/>
                <a:gd name="connsiteY2" fmla="*/ 1302541 h 1773253"/>
                <a:gd name="connsiteX3" fmla="*/ 1264443 w 1622231"/>
                <a:gd name="connsiteY3" fmla="*/ 540542 h 1773253"/>
                <a:gd name="connsiteX4" fmla="*/ 835820 w 1622231"/>
                <a:gd name="connsiteY4" fmla="*/ 373856 h 1773253"/>
                <a:gd name="connsiteX5" fmla="*/ 807244 w 1622231"/>
                <a:gd name="connsiteY5" fmla="*/ 0 h 1773253"/>
                <a:gd name="connsiteX6" fmla="*/ 421482 w 1622231"/>
                <a:gd name="connsiteY6" fmla="*/ 321468 h 1773253"/>
                <a:gd name="connsiteX7" fmla="*/ 595313 w 1622231"/>
                <a:gd name="connsiteY7" fmla="*/ 766762 h 1773253"/>
                <a:gd name="connsiteX8" fmla="*/ 923925 w 1622231"/>
                <a:gd name="connsiteY8" fmla="*/ 1007267 h 1773253"/>
                <a:gd name="connsiteX9" fmla="*/ 621506 w 1622231"/>
                <a:gd name="connsiteY9" fmla="*/ 1352547 h 1773253"/>
                <a:gd name="connsiteX10" fmla="*/ 0 w 1622231"/>
                <a:gd name="connsiteY10" fmla="*/ 1119184 h 1773253"/>
                <a:gd name="connsiteX0" fmla="*/ 0 w 1622231"/>
                <a:gd name="connsiteY0" fmla="*/ 1119184 h 1800701"/>
                <a:gd name="connsiteX1" fmla="*/ 0 w 1622231"/>
                <a:gd name="connsiteY1" fmla="*/ 1647822 h 1800701"/>
                <a:gd name="connsiteX2" fmla="*/ 1574006 w 1622231"/>
                <a:gd name="connsiteY2" fmla="*/ 1302541 h 1800701"/>
                <a:gd name="connsiteX3" fmla="*/ 1264443 w 1622231"/>
                <a:gd name="connsiteY3" fmla="*/ 540542 h 1800701"/>
                <a:gd name="connsiteX4" fmla="*/ 835820 w 1622231"/>
                <a:gd name="connsiteY4" fmla="*/ 373856 h 1800701"/>
                <a:gd name="connsiteX5" fmla="*/ 807244 w 1622231"/>
                <a:gd name="connsiteY5" fmla="*/ 0 h 1800701"/>
                <a:gd name="connsiteX6" fmla="*/ 421482 w 1622231"/>
                <a:gd name="connsiteY6" fmla="*/ 321468 h 1800701"/>
                <a:gd name="connsiteX7" fmla="*/ 595313 w 1622231"/>
                <a:gd name="connsiteY7" fmla="*/ 766762 h 1800701"/>
                <a:gd name="connsiteX8" fmla="*/ 923925 w 1622231"/>
                <a:gd name="connsiteY8" fmla="*/ 1007267 h 1800701"/>
                <a:gd name="connsiteX9" fmla="*/ 621506 w 1622231"/>
                <a:gd name="connsiteY9" fmla="*/ 1352547 h 1800701"/>
                <a:gd name="connsiteX10" fmla="*/ 0 w 1622231"/>
                <a:gd name="connsiteY10" fmla="*/ 1119184 h 1800701"/>
                <a:gd name="connsiteX0" fmla="*/ 0 w 1552023"/>
                <a:gd name="connsiteY0" fmla="*/ 1119184 h 1859749"/>
                <a:gd name="connsiteX1" fmla="*/ 0 w 1552023"/>
                <a:gd name="connsiteY1" fmla="*/ 1647822 h 1859749"/>
                <a:gd name="connsiteX2" fmla="*/ 1462087 w 1552023"/>
                <a:gd name="connsiteY2" fmla="*/ 1469229 h 1859749"/>
                <a:gd name="connsiteX3" fmla="*/ 1264443 w 1552023"/>
                <a:gd name="connsiteY3" fmla="*/ 540542 h 1859749"/>
                <a:gd name="connsiteX4" fmla="*/ 835820 w 1552023"/>
                <a:gd name="connsiteY4" fmla="*/ 373856 h 1859749"/>
                <a:gd name="connsiteX5" fmla="*/ 807244 w 1552023"/>
                <a:gd name="connsiteY5" fmla="*/ 0 h 1859749"/>
                <a:gd name="connsiteX6" fmla="*/ 421482 w 1552023"/>
                <a:gd name="connsiteY6" fmla="*/ 321468 h 1859749"/>
                <a:gd name="connsiteX7" fmla="*/ 595313 w 1552023"/>
                <a:gd name="connsiteY7" fmla="*/ 766762 h 1859749"/>
                <a:gd name="connsiteX8" fmla="*/ 923925 w 1552023"/>
                <a:gd name="connsiteY8" fmla="*/ 1007267 h 1859749"/>
                <a:gd name="connsiteX9" fmla="*/ 621506 w 1552023"/>
                <a:gd name="connsiteY9" fmla="*/ 1352547 h 1859749"/>
                <a:gd name="connsiteX10" fmla="*/ 0 w 1552023"/>
                <a:gd name="connsiteY10" fmla="*/ 1119184 h 1859749"/>
                <a:gd name="connsiteX0" fmla="*/ 0 w 1571973"/>
                <a:gd name="connsiteY0" fmla="*/ 1119184 h 1800114"/>
                <a:gd name="connsiteX1" fmla="*/ 0 w 1571973"/>
                <a:gd name="connsiteY1" fmla="*/ 1647822 h 1800114"/>
                <a:gd name="connsiteX2" fmla="*/ 1462087 w 1571973"/>
                <a:gd name="connsiteY2" fmla="*/ 1469229 h 1800114"/>
                <a:gd name="connsiteX3" fmla="*/ 1264443 w 1571973"/>
                <a:gd name="connsiteY3" fmla="*/ 540542 h 1800114"/>
                <a:gd name="connsiteX4" fmla="*/ 835820 w 1571973"/>
                <a:gd name="connsiteY4" fmla="*/ 373856 h 1800114"/>
                <a:gd name="connsiteX5" fmla="*/ 807244 w 1571973"/>
                <a:gd name="connsiteY5" fmla="*/ 0 h 1800114"/>
                <a:gd name="connsiteX6" fmla="*/ 421482 w 1571973"/>
                <a:gd name="connsiteY6" fmla="*/ 321468 h 1800114"/>
                <a:gd name="connsiteX7" fmla="*/ 595313 w 1571973"/>
                <a:gd name="connsiteY7" fmla="*/ 766762 h 1800114"/>
                <a:gd name="connsiteX8" fmla="*/ 923925 w 1571973"/>
                <a:gd name="connsiteY8" fmla="*/ 1007267 h 1800114"/>
                <a:gd name="connsiteX9" fmla="*/ 621506 w 1571973"/>
                <a:gd name="connsiteY9" fmla="*/ 1352547 h 1800114"/>
                <a:gd name="connsiteX10" fmla="*/ 0 w 1571973"/>
                <a:gd name="connsiteY10" fmla="*/ 1119184 h 1800114"/>
                <a:gd name="connsiteX0" fmla="*/ 0 w 1620477"/>
                <a:gd name="connsiteY0" fmla="*/ 1119184 h 1800815"/>
                <a:gd name="connsiteX1" fmla="*/ 0 w 1620477"/>
                <a:gd name="connsiteY1" fmla="*/ 1647822 h 1800815"/>
                <a:gd name="connsiteX2" fmla="*/ 1462087 w 1620477"/>
                <a:gd name="connsiteY2" fmla="*/ 1469229 h 1800815"/>
                <a:gd name="connsiteX3" fmla="*/ 1264443 w 1620477"/>
                <a:gd name="connsiteY3" fmla="*/ 540542 h 1800815"/>
                <a:gd name="connsiteX4" fmla="*/ 835820 w 1620477"/>
                <a:gd name="connsiteY4" fmla="*/ 373856 h 1800815"/>
                <a:gd name="connsiteX5" fmla="*/ 807244 w 1620477"/>
                <a:gd name="connsiteY5" fmla="*/ 0 h 1800815"/>
                <a:gd name="connsiteX6" fmla="*/ 421482 w 1620477"/>
                <a:gd name="connsiteY6" fmla="*/ 321468 h 1800815"/>
                <a:gd name="connsiteX7" fmla="*/ 595313 w 1620477"/>
                <a:gd name="connsiteY7" fmla="*/ 766762 h 1800815"/>
                <a:gd name="connsiteX8" fmla="*/ 923925 w 1620477"/>
                <a:gd name="connsiteY8" fmla="*/ 1007267 h 1800815"/>
                <a:gd name="connsiteX9" fmla="*/ 621506 w 1620477"/>
                <a:gd name="connsiteY9" fmla="*/ 1352547 h 1800815"/>
                <a:gd name="connsiteX10" fmla="*/ 0 w 1620477"/>
                <a:gd name="connsiteY10" fmla="*/ 1119184 h 1800815"/>
                <a:gd name="connsiteX0" fmla="*/ 0 w 1629436"/>
                <a:gd name="connsiteY0" fmla="*/ 1119184 h 1799377"/>
                <a:gd name="connsiteX1" fmla="*/ 0 w 1629436"/>
                <a:gd name="connsiteY1" fmla="*/ 1647822 h 1799377"/>
                <a:gd name="connsiteX2" fmla="*/ 1476374 w 1629436"/>
                <a:gd name="connsiteY2" fmla="*/ 1464467 h 1799377"/>
                <a:gd name="connsiteX3" fmla="*/ 1264443 w 1629436"/>
                <a:gd name="connsiteY3" fmla="*/ 540542 h 1799377"/>
                <a:gd name="connsiteX4" fmla="*/ 835820 w 1629436"/>
                <a:gd name="connsiteY4" fmla="*/ 373856 h 1799377"/>
                <a:gd name="connsiteX5" fmla="*/ 807244 w 1629436"/>
                <a:gd name="connsiteY5" fmla="*/ 0 h 1799377"/>
                <a:gd name="connsiteX6" fmla="*/ 421482 w 1629436"/>
                <a:gd name="connsiteY6" fmla="*/ 321468 h 1799377"/>
                <a:gd name="connsiteX7" fmla="*/ 595313 w 1629436"/>
                <a:gd name="connsiteY7" fmla="*/ 766762 h 1799377"/>
                <a:gd name="connsiteX8" fmla="*/ 923925 w 1629436"/>
                <a:gd name="connsiteY8" fmla="*/ 1007267 h 1799377"/>
                <a:gd name="connsiteX9" fmla="*/ 621506 w 1629436"/>
                <a:gd name="connsiteY9" fmla="*/ 1352547 h 1799377"/>
                <a:gd name="connsiteX10" fmla="*/ 0 w 1629436"/>
                <a:gd name="connsiteY10" fmla="*/ 1119184 h 1799377"/>
                <a:gd name="connsiteX0" fmla="*/ 0 w 1606110"/>
                <a:gd name="connsiteY0" fmla="*/ 1119184 h 1796213"/>
                <a:gd name="connsiteX1" fmla="*/ 0 w 1606110"/>
                <a:gd name="connsiteY1" fmla="*/ 1647822 h 1796213"/>
                <a:gd name="connsiteX2" fmla="*/ 1476374 w 1606110"/>
                <a:gd name="connsiteY2" fmla="*/ 1464467 h 1796213"/>
                <a:gd name="connsiteX3" fmla="*/ 1264443 w 1606110"/>
                <a:gd name="connsiteY3" fmla="*/ 540542 h 1796213"/>
                <a:gd name="connsiteX4" fmla="*/ 835820 w 1606110"/>
                <a:gd name="connsiteY4" fmla="*/ 373856 h 1796213"/>
                <a:gd name="connsiteX5" fmla="*/ 807244 w 1606110"/>
                <a:gd name="connsiteY5" fmla="*/ 0 h 1796213"/>
                <a:gd name="connsiteX6" fmla="*/ 421482 w 1606110"/>
                <a:gd name="connsiteY6" fmla="*/ 321468 h 1796213"/>
                <a:gd name="connsiteX7" fmla="*/ 595313 w 1606110"/>
                <a:gd name="connsiteY7" fmla="*/ 766762 h 1796213"/>
                <a:gd name="connsiteX8" fmla="*/ 923925 w 1606110"/>
                <a:gd name="connsiteY8" fmla="*/ 1007267 h 1796213"/>
                <a:gd name="connsiteX9" fmla="*/ 621506 w 1606110"/>
                <a:gd name="connsiteY9" fmla="*/ 1352547 h 1796213"/>
                <a:gd name="connsiteX10" fmla="*/ 0 w 1606110"/>
                <a:gd name="connsiteY10" fmla="*/ 1119184 h 1796213"/>
                <a:gd name="connsiteX0" fmla="*/ 0 w 1625337"/>
                <a:gd name="connsiteY0" fmla="*/ 1119184 h 1796213"/>
                <a:gd name="connsiteX1" fmla="*/ 0 w 1625337"/>
                <a:gd name="connsiteY1" fmla="*/ 1647822 h 1796213"/>
                <a:gd name="connsiteX2" fmla="*/ 1476374 w 1625337"/>
                <a:gd name="connsiteY2" fmla="*/ 1464467 h 1796213"/>
                <a:gd name="connsiteX3" fmla="*/ 1264443 w 1625337"/>
                <a:gd name="connsiteY3" fmla="*/ 540542 h 1796213"/>
                <a:gd name="connsiteX4" fmla="*/ 835820 w 1625337"/>
                <a:gd name="connsiteY4" fmla="*/ 373856 h 1796213"/>
                <a:gd name="connsiteX5" fmla="*/ 807244 w 1625337"/>
                <a:gd name="connsiteY5" fmla="*/ 0 h 1796213"/>
                <a:gd name="connsiteX6" fmla="*/ 421482 w 1625337"/>
                <a:gd name="connsiteY6" fmla="*/ 321468 h 1796213"/>
                <a:gd name="connsiteX7" fmla="*/ 595313 w 1625337"/>
                <a:gd name="connsiteY7" fmla="*/ 766762 h 1796213"/>
                <a:gd name="connsiteX8" fmla="*/ 923925 w 1625337"/>
                <a:gd name="connsiteY8" fmla="*/ 1007267 h 1796213"/>
                <a:gd name="connsiteX9" fmla="*/ 621506 w 1625337"/>
                <a:gd name="connsiteY9" fmla="*/ 1352547 h 1796213"/>
                <a:gd name="connsiteX10" fmla="*/ 0 w 1625337"/>
                <a:gd name="connsiteY10" fmla="*/ 1119184 h 1796213"/>
                <a:gd name="connsiteX0" fmla="*/ 0 w 1625337"/>
                <a:gd name="connsiteY0" fmla="*/ 1119184 h 1803595"/>
                <a:gd name="connsiteX1" fmla="*/ 0 w 1625337"/>
                <a:gd name="connsiteY1" fmla="*/ 1647822 h 1803595"/>
                <a:gd name="connsiteX2" fmla="*/ 1476374 w 1625337"/>
                <a:gd name="connsiteY2" fmla="*/ 1464467 h 1803595"/>
                <a:gd name="connsiteX3" fmla="*/ 1264443 w 1625337"/>
                <a:gd name="connsiteY3" fmla="*/ 540542 h 1803595"/>
                <a:gd name="connsiteX4" fmla="*/ 835820 w 1625337"/>
                <a:gd name="connsiteY4" fmla="*/ 373856 h 1803595"/>
                <a:gd name="connsiteX5" fmla="*/ 807244 w 1625337"/>
                <a:gd name="connsiteY5" fmla="*/ 0 h 1803595"/>
                <a:gd name="connsiteX6" fmla="*/ 421482 w 1625337"/>
                <a:gd name="connsiteY6" fmla="*/ 321468 h 1803595"/>
                <a:gd name="connsiteX7" fmla="*/ 595313 w 1625337"/>
                <a:gd name="connsiteY7" fmla="*/ 766762 h 1803595"/>
                <a:gd name="connsiteX8" fmla="*/ 923925 w 1625337"/>
                <a:gd name="connsiteY8" fmla="*/ 1007267 h 1803595"/>
                <a:gd name="connsiteX9" fmla="*/ 621506 w 1625337"/>
                <a:gd name="connsiteY9" fmla="*/ 1352547 h 1803595"/>
                <a:gd name="connsiteX10" fmla="*/ 0 w 1625337"/>
                <a:gd name="connsiteY10" fmla="*/ 1119184 h 1803595"/>
                <a:gd name="connsiteX0" fmla="*/ 0 w 1625337"/>
                <a:gd name="connsiteY0" fmla="*/ 1119184 h 1799376"/>
                <a:gd name="connsiteX1" fmla="*/ 0 w 1625337"/>
                <a:gd name="connsiteY1" fmla="*/ 1647822 h 1799376"/>
                <a:gd name="connsiteX2" fmla="*/ 1476374 w 1625337"/>
                <a:gd name="connsiteY2" fmla="*/ 1464467 h 1799376"/>
                <a:gd name="connsiteX3" fmla="*/ 1264443 w 1625337"/>
                <a:gd name="connsiteY3" fmla="*/ 540542 h 1799376"/>
                <a:gd name="connsiteX4" fmla="*/ 835820 w 1625337"/>
                <a:gd name="connsiteY4" fmla="*/ 373856 h 1799376"/>
                <a:gd name="connsiteX5" fmla="*/ 807244 w 1625337"/>
                <a:gd name="connsiteY5" fmla="*/ 0 h 1799376"/>
                <a:gd name="connsiteX6" fmla="*/ 421482 w 1625337"/>
                <a:gd name="connsiteY6" fmla="*/ 321468 h 1799376"/>
                <a:gd name="connsiteX7" fmla="*/ 595313 w 1625337"/>
                <a:gd name="connsiteY7" fmla="*/ 766762 h 1799376"/>
                <a:gd name="connsiteX8" fmla="*/ 923925 w 1625337"/>
                <a:gd name="connsiteY8" fmla="*/ 1007267 h 1799376"/>
                <a:gd name="connsiteX9" fmla="*/ 621506 w 1625337"/>
                <a:gd name="connsiteY9" fmla="*/ 1352547 h 1799376"/>
                <a:gd name="connsiteX10" fmla="*/ 0 w 1625337"/>
                <a:gd name="connsiteY10" fmla="*/ 1119184 h 1799376"/>
                <a:gd name="connsiteX0" fmla="*/ 0 w 1635914"/>
                <a:gd name="connsiteY0" fmla="*/ 1119184 h 1799376"/>
                <a:gd name="connsiteX1" fmla="*/ 0 w 1635914"/>
                <a:gd name="connsiteY1" fmla="*/ 1647822 h 1799376"/>
                <a:gd name="connsiteX2" fmla="*/ 1476374 w 1635914"/>
                <a:gd name="connsiteY2" fmla="*/ 1464467 h 1799376"/>
                <a:gd name="connsiteX3" fmla="*/ 1264443 w 1635914"/>
                <a:gd name="connsiteY3" fmla="*/ 540542 h 1799376"/>
                <a:gd name="connsiteX4" fmla="*/ 835820 w 1635914"/>
                <a:gd name="connsiteY4" fmla="*/ 373856 h 1799376"/>
                <a:gd name="connsiteX5" fmla="*/ 807244 w 1635914"/>
                <a:gd name="connsiteY5" fmla="*/ 0 h 1799376"/>
                <a:gd name="connsiteX6" fmla="*/ 421482 w 1635914"/>
                <a:gd name="connsiteY6" fmla="*/ 321468 h 1799376"/>
                <a:gd name="connsiteX7" fmla="*/ 595313 w 1635914"/>
                <a:gd name="connsiteY7" fmla="*/ 766762 h 1799376"/>
                <a:gd name="connsiteX8" fmla="*/ 923925 w 1635914"/>
                <a:gd name="connsiteY8" fmla="*/ 1007267 h 1799376"/>
                <a:gd name="connsiteX9" fmla="*/ 621506 w 1635914"/>
                <a:gd name="connsiteY9" fmla="*/ 1352547 h 1799376"/>
                <a:gd name="connsiteX10" fmla="*/ 0 w 1635914"/>
                <a:gd name="connsiteY10" fmla="*/ 1119184 h 1799376"/>
                <a:gd name="connsiteX0" fmla="*/ 0 w 1720482"/>
                <a:gd name="connsiteY0" fmla="*/ 1119184 h 1772537"/>
                <a:gd name="connsiteX1" fmla="*/ 0 w 1720482"/>
                <a:gd name="connsiteY1" fmla="*/ 1647822 h 1772537"/>
                <a:gd name="connsiteX2" fmla="*/ 1476374 w 1720482"/>
                <a:gd name="connsiteY2" fmla="*/ 1464467 h 1772537"/>
                <a:gd name="connsiteX3" fmla="*/ 1397793 w 1720482"/>
                <a:gd name="connsiteY3" fmla="*/ 626267 h 1772537"/>
                <a:gd name="connsiteX4" fmla="*/ 835820 w 1720482"/>
                <a:gd name="connsiteY4" fmla="*/ 373856 h 1772537"/>
                <a:gd name="connsiteX5" fmla="*/ 807244 w 1720482"/>
                <a:gd name="connsiteY5" fmla="*/ 0 h 1772537"/>
                <a:gd name="connsiteX6" fmla="*/ 421482 w 1720482"/>
                <a:gd name="connsiteY6" fmla="*/ 321468 h 1772537"/>
                <a:gd name="connsiteX7" fmla="*/ 595313 w 1720482"/>
                <a:gd name="connsiteY7" fmla="*/ 766762 h 1772537"/>
                <a:gd name="connsiteX8" fmla="*/ 923925 w 1720482"/>
                <a:gd name="connsiteY8" fmla="*/ 1007267 h 1772537"/>
                <a:gd name="connsiteX9" fmla="*/ 621506 w 1720482"/>
                <a:gd name="connsiteY9" fmla="*/ 1352547 h 1772537"/>
                <a:gd name="connsiteX10" fmla="*/ 0 w 1720482"/>
                <a:gd name="connsiteY10" fmla="*/ 1119184 h 1772537"/>
                <a:gd name="connsiteX0" fmla="*/ 0 w 1630664"/>
                <a:gd name="connsiteY0" fmla="*/ 1119184 h 1772537"/>
                <a:gd name="connsiteX1" fmla="*/ 0 w 1630664"/>
                <a:gd name="connsiteY1" fmla="*/ 1647822 h 1772537"/>
                <a:gd name="connsiteX2" fmla="*/ 1476374 w 1630664"/>
                <a:gd name="connsiteY2" fmla="*/ 1464467 h 1772537"/>
                <a:gd name="connsiteX3" fmla="*/ 1397793 w 1630664"/>
                <a:gd name="connsiteY3" fmla="*/ 626267 h 1772537"/>
                <a:gd name="connsiteX4" fmla="*/ 835820 w 1630664"/>
                <a:gd name="connsiteY4" fmla="*/ 373856 h 1772537"/>
                <a:gd name="connsiteX5" fmla="*/ 807244 w 1630664"/>
                <a:gd name="connsiteY5" fmla="*/ 0 h 1772537"/>
                <a:gd name="connsiteX6" fmla="*/ 421482 w 1630664"/>
                <a:gd name="connsiteY6" fmla="*/ 321468 h 1772537"/>
                <a:gd name="connsiteX7" fmla="*/ 595313 w 1630664"/>
                <a:gd name="connsiteY7" fmla="*/ 766762 h 1772537"/>
                <a:gd name="connsiteX8" fmla="*/ 923925 w 1630664"/>
                <a:gd name="connsiteY8" fmla="*/ 1007267 h 1772537"/>
                <a:gd name="connsiteX9" fmla="*/ 621506 w 1630664"/>
                <a:gd name="connsiteY9" fmla="*/ 1352547 h 1772537"/>
                <a:gd name="connsiteX10" fmla="*/ 0 w 1630664"/>
                <a:gd name="connsiteY10" fmla="*/ 1119184 h 1772537"/>
                <a:gd name="connsiteX0" fmla="*/ 0 w 1615856"/>
                <a:gd name="connsiteY0" fmla="*/ 1119184 h 1800557"/>
                <a:gd name="connsiteX1" fmla="*/ 0 w 1615856"/>
                <a:gd name="connsiteY1" fmla="*/ 1647822 h 1800557"/>
                <a:gd name="connsiteX2" fmla="*/ 1476374 w 1615856"/>
                <a:gd name="connsiteY2" fmla="*/ 1464467 h 1800557"/>
                <a:gd name="connsiteX3" fmla="*/ 1397793 w 1615856"/>
                <a:gd name="connsiteY3" fmla="*/ 626267 h 1800557"/>
                <a:gd name="connsiteX4" fmla="*/ 835820 w 1615856"/>
                <a:gd name="connsiteY4" fmla="*/ 373856 h 1800557"/>
                <a:gd name="connsiteX5" fmla="*/ 807244 w 1615856"/>
                <a:gd name="connsiteY5" fmla="*/ 0 h 1800557"/>
                <a:gd name="connsiteX6" fmla="*/ 421482 w 1615856"/>
                <a:gd name="connsiteY6" fmla="*/ 321468 h 1800557"/>
                <a:gd name="connsiteX7" fmla="*/ 595313 w 1615856"/>
                <a:gd name="connsiteY7" fmla="*/ 766762 h 1800557"/>
                <a:gd name="connsiteX8" fmla="*/ 923925 w 1615856"/>
                <a:gd name="connsiteY8" fmla="*/ 1007267 h 1800557"/>
                <a:gd name="connsiteX9" fmla="*/ 621506 w 1615856"/>
                <a:gd name="connsiteY9" fmla="*/ 1352547 h 1800557"/>
                <a:gd name="connsiteX10" fmla="*/ 0 w 1615856"/>
                <a:gd name="connsiteY10" fmla="*/ 1119184 h 1800557"/>
                <a:gd name="connsiteX0" fmla="*/ 0 w 1626496"/>
                <a:gd name="connsiteY0" fmla="*/ 1119184 h 1800277"/>
                <a:gd name="connsiteX1" fmla="*/ 0 w 1626496"/>
                <a:gd name="connsiteY1" fmla="*/ 1647822 h 1800277"/>
                <a:gd name="connsiteX2" fmla="*/ 1476374 w 1626496"/>
                <a:gd name="connsiteY2" fmla="*/ 1464467 h 1800277"/>
                <a:gd name="connsiteX3" fmla="*/ 1397793 w 1626496"/>
                <a:gd name="connsiteY3" fmla="*/ 626267 h 1800277"/>
                <a:gd name="connsiteX4" fmla="*/ 835820 w 1626496"/>
                <a:gd name="connsiteY4" fmla="*/ 373856 h 1800277"/>
                <a:gd name="connsiteX5" fmla="*/ 807244 w 1626496"/>
                <a:gd name="connsiteY5" fmla="*/ 0 h 1800277"/>
                <a:gd name="connsiteX6" fmla="*/ 421482 w 1626496"/>
                <a:gd name="connsiteY6" fmla="*/ 321468 h 1800277"/>
                <a:gd name="connsiteX7" fmla="*/ 595313 w 1626496"/>
                <a:gd name="connsiteY7" fmla="*/ 766762 h 1800277"/>
                <a:gd name="connsiteX8" fmla="*/ 923925 w 1626496"/>
                <a:gd name="connsiteY8" fmla="*/ 1007267 h 1800277"/>
                <a:gd name="connsiteX9" fmla="*/ 621506 w 1626496"/>
                <a:gd name="connsiteY9" fmla="*/ 1352547 h 1800277"/>
                <a:gd name="connsiteX10" fmla="*/ 0 w 1626496"/>
                <a:gd name="connsiteY10" fmla="*/ 1119184 h 180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26496" h="1800277">
                  <a:moveTo>
                    <a:pt x="0" y="1119184"/>
                  </a:moveTo>
                  <a:lnTo>
                    <a:pt x="0" y="1647822"/>
                  </a:lnTo>
                  <a:cubicBezTo>
                    <a:pt x="686196" y="1947462"/>
                    <a:pt x="1196953" y="1762179"/>
                    <a:pt x="1476374" y="1464467"/>
                  </a:cubicBezTo>
                  <a:cubicBezTo>
                    <a:pt x="1699180" y="1227076"/>
                    <a:pt x="1674781" y="817990"/>
                    <a:pt x="1397793" y="626267"/>
                  </a:cubicBezTo>
                  <a:cubicBezTo>
                    <a:pt x="1228944" y="509394"/>
                    <a:pt x="1023144" y="457993"/>
                    <a:pt x="835820" y="373856"/>
                  </a:cubicBezTo>
                  <a:cubicBezTo>
                    <a:pt x="676275" y="325437"/>
                    <a:pt x="542926" y="112711"/>
                    <a:pt x="807244" y="0"/>
                  </a:cubicBezTo>
                  <a:cubicBezTo>
                    <a:pt x="507207" y="50006"/>
                    <a:pt x="440530" y="235745"/>
                    <a:pt x="421482" y="321468"/>
                  </a:cubicBezTo>
                  <a:cubicBezTo>
                    <a:pt x="362745" y="574674"/>
                    <a:pt x="546894" y="723107"/>
                    <a:pt x="595313" y="766762"/>
                  </a:cubicBezTo>
                  <a:cubicBezTo>
                    <a:pt x="664369" y="835024"/>
                    <a:pt x="857250" y="884236"/>
                    <a:pt x="923925" y="1007267"/>
                  </a:cubicBezTo>
                  <a:cubicBezTo>
                    <a:pt x="992188" y="1158079"/>
                    <a:pt x="883541" y="1334500"/>
                    <a:pt x="621506" y="1352547"/>
                  </a:cubicBezTo>
                  <a:cubicBezTo>
                    <a:pt x="455755" y="1363963"/>
                    <a:pt x="205977" y="1265235"/>
                    <a:pt x="0" y="1119184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  <p:sp>
          <p:nvSpPr>
            <p:cNvPr id="12" name="Freeform 34"/>
            <p:cNvSpPr/>
            <p:nvPr userDrawn="1"/>
          </p:nvSpPr>
          <p:spPr>
            <a:xfrm>
              <a:off x="8504651" y="159540"/>
              <a:ext cx="118940" cy="68882"/>
            </a:xfrm>
            <a:custGeom>
              <a:avLst/>
              <a:gdLst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04937"/>
                <a:gd name="connsiteY0" fmla="*/ 635794 h 788194"/>
                <a:gd name="connsiteX1" fmla="*/ 1402556 w 1404937"/>
                <a:gd name="connsiteY1" fmla="*/ 64294 h 788194"/>
                <a:gd name="connsiteX2" fmla="*/ 547687 w 1404937"/>
                <a:gd name="connsiteY2" fmla="*/ 0 h 788194"/>
                <a:gd name="connsiteX3" fmla="*/ 14287 w 1404937"/>
                <a:gd name="connsiteY3" fmla="*/ 469106 h 788194"/>
                <a:gd name="connsiteX4" fmla="*/ 0 w 1404937"/>
                <a:gd name="connsiteY4" fmla="*/ 788194 h 788194"/>
                <a:gd name="connsiteX5" fmla="*/ 283368 w 1404937"/>
                <a:gd name="connsiteY5" fmla="*/ 438150 h 788194"/>
                <a:gd name="connsiteX6" fmla="*/ 821531 w 1404937"/>
                <a:gd name="connsiteY6" fmla="*/ 371475 h 788194"/>
                <a:gd name="connsiteX7" fmla="*/ 1404937 w 1404937"/>
                <a:gd name="connsiteY7" fmla="*/ 635794 h 788194"/>
                <a:gd name="connsiteX0" fmla="*/ 1404937 w 1413690"/>
                <a:gd name="connsiteY0" fmla="*/ 635794 h 788194"/>
                <a:gd name="connsiteX1" fmla="*/ 1402556 w 1413690"/>
                <a:gd name="connsiteY1" fmla="*/ 64294 h 788194"/>
                <a:gd name="connsiteX2" fmla="*/ 547687 w 1413690"/>
                <a:gd name="connsiteY2" fmla="*/ 0 h 788194"/>
                <a:gd name="connsiteX3" fmla="*/ 14287 w 1413690"/>
                <a:gd name="connsiteY3" fmla="*/ 469106 h 788194"/>
                <a:gd name="connsiteX4" fmla="*/ 0 w 1413690"/>
                <a:gd name="connsiteY4" fmla="*/ 788194 h 788194"/>
                <a:gd name="connsiteX5" fmla="*/ 283368 w 1413690"/>
                <a:gd name="connsiteY5" fmla="*/ 438150 h 788194"/>
                <a:gd name="connsiteX6" fmla="*/ 821531 w 1413690"/>
                <a:gd name="connsiteY6" fmla="*/ 371475 h 788194"/>
                <a:gd name="connsiteX7" fmla="*/ 1404937 w 1413690"/>
                <a:gd name="connsiteY7" fmla="*/ 635794 h 788194"/>
                <a:gd name="connsiteX0" fmla="*/ 1404937 w 1417413"/>
                <a:gd name="connsiteY0" fmla="*/ 635794 h 788194"/>
                <a:gd name="connsiteX1" fmla="*/ 1402556 w 1417413"/>
                <a:gd name="connsiteY1" fmla="*/ 64294 h 788194"/>
                <a:gd name="connsiteX2" fmla="*/ 547687 w 1417413"/>
                <a:gd name="connsiteY2" fmla="*/ 0 h 788194"/>
                <a:gd name="connsiteX3" fmla="*/ 14287 w 1417413"/>
                <a:gd name="connsiteY3" fmla="*/ 469106 h 788194"/>
                <a:gd name="connsiteX4" fmla="*/ 0 w 1417413"/>
                <a:gd name="connsiteY4" fmla="*/ 788194 h 788194"/>
                <a:gd name="connsiteX5" fmla="*/ 283368 w 1417413"/>
                <a:gd name="connsiteY5" fmla="*/ 438150 h 788194"/>
                <a:gd name="connsiteX6" fmla="*/ 821531 w 1417413"/>
                <a:gd name="connsiteY6" fmla="*/ 371475 h 788194"/>
                <a:gd name="connsiteX7" fmla="*/ 1404937 w 1417413"/>
                <a:gd name="connsiteY7" fmla="*/ 635794 h 788194"/>
                <a:gd name="connsiteX0" fmla="*/ 1404937 w 1417413"/>
                <a:gd name="connsiteY0" fmla="*/ 636458 h 788858"/>
                <a:gd name="connsiteX1" fmla="*/ 1402556 w 1417413"/>
                <a:gd name="connsiteY1" fmla="*/ 64958 h 788858"/>
                <a:gd name="connsiteX2" fmla="*/ 547687 w 1417413"/>
                <a:gd name="connsiteY2" fmla="*/ 664 h 788858"/>
                <a:gd name="connsiteX3" fmla="*/ 14287 w 1417413"/>
                <a:gd name="connsiteY3" fmla="*/ 469770 h 788858"/>
                <a:gd name="connsiteX4" fmla="*/ 0 w 1417413"/>
                <a:gd name="connsiteY4" fmla="*/ 788858 h 788858"/>
                <a:gd name="connsiteX5" fmla="*/ 283368 w 1417413"/>
                <a:gd name="connsiteY5" fmla="*/ 438814 h 788858"/>
                <a:gd name="connsiteX6" fmla="*/ 821531 w 1417413"/>
                <a:gd name="connsiteY6" fmla="*/ 372139 h 788858"/>
                <a:gd name="connsiteX7" fmla="*/ 1404937 w 1417413"/>
                <a:gd name="connsiteY7" fmla="*/ 636458 h 788858"/>
                <a:gd name="connsiteX0" fmla="*/ 1404937 w 1417413"/>
                <a:gd name="connsiteY0" fmla="*/ 659983 h 812383"/>
                <a:gd name="connsiteX1" fmla="*/ 1402556 w 1417413"/>
                <a:gd name="connsiteY1" fmla="*/ 88483 h 812383"/>
                <a:gd name="connsiteX2" fmla="*/ 547687 w 1417413"/>
                <a:gd name="connsiteY2" fmla="*/ 24189 h 812383"/>
                <a:gd name="connsiteX3" fmla="*/ 14287 w 1417413"/>
                <a:gd name="connsiteY3" fmla="*/ 493295 h 812383"/>
                <a:gd name="connsiteX4" fmla="*/ 0 w 1417413"/>
                <a:gd name="connsiteY4" fmla="*/ 812383 h 812383"/>
                <a:gd name="connsiteX5" fmla="*/ 283368 w 1417413"/>
                <a:gd name="connsiteY5" fmla="*/ 462339 h 812383"/>
                <a:gd name="connsiteX6" fmla="*/ 821531 w 1417413"/>
                <a:gd name="connsiteY6" fmla="*/ 395664 h 812383"/>
                <a:gd name="connsiteX7" fmla="*/ 1404937 w 1417413"/>
                <a:gd name="connsiteY7" fmla="*/ 659983 h 812383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4937 w 1417413"/>
                <a:gd name="connsiteY0" fmla="*/ 674932 h 827332"/>
                <a:gd name="connsiteX1" fmla="*/ 1402556 w 1417413"/>
                <a:gd name="connsiteY1" fmla="*/ 103432 h 827332"/>
                <a:gd name="connsiteX2" fmla="*/ 547687 w 1417413"/>
                <a:gd name="connsiteY2" fmla="*/ 39138 h 827332"/>
                <a:gd name="connsiteX3" fmla="*/ 14287 w 1417413"/>
                <a:gd name="connsiteY3" fmla="*/ 508244 h 827332"/>
                <a:gd name="connsiteX4" fmla="*/ 0 w 1417413"/>
                <a:gd name="connsiteY4" fmla="*/ 827332 h 827332"/>
                <a:gd name="connsiteX5" fmla="*/ 283368 w 1417413"/>
                <a:gd name="connsiteY5" fmla="*/ 477288 h 827332"/>
                <a:gd name="connsiteX6" fmla="*/ 821531 w 1417413"/>
                <a:gd name="connsiteY6" fmla="*/ 410613 h 827332"/>
                <a:gd name="connsiteX7" fmla="*/ 1404937 w 1417413"/>
                <a:gd name="connsiteY7" fmla="*/ 674932 h 827332"/>
                <a:gd name="connsiteX0" fmla="*/ 1406804 w 1419280"/>
                <a:gd name="connsiteY0" fmla="*/ 674932 h 827332"/>
                <a:gd name="connsiteX1" fmla="*/ 1404423 w 1419280"/>
                <a:gd name="connsiteY1" fmla="*/ 103432 h 827332"/>
                <a:gd name="connsiteX2" fmla="*/ 549554 w 1419280"/>
                <a:gd name="connsiteY2" fmla="*/ 39138 h 827332"/>
                <a:gd name="connsiteX3" fmla="*/ 16154 w 1419280"/>
                <a:gd name="connsiteY3" fmla="*/ 508244 h 827332"/>
                <a:gd name="connsiteX4" fmla="*/ 1867 w 1419280"/>
                <a:gd name="connsiteY4" fmla="*/ 827332 h 827332"/>
                <a:gd name="connsiteX5" fmla="*/ 285235 w 1419280"/>
                <a:gd name="connsiteY5" fmla="*/ 477288 h 827332"/>
                <a:gd name="connsiteX6" fmla="*/ 823398 w 1419280"/>
                <a:gd name="connsiteY6" fmla="*/ 410613 h 827332"/>
                <a:gd name="connsiteX7" fmla="*/ 1406804 w 1419280"/>
                <a:gd name="connsiteY7" fmla="*/ 674932 h 827332"/>
                <a:gd name="connsiteX0" fmla="*/ 1409119 w 1421595"/>
                <a:gd name="connsiteY0" fmla="*/ 674932 h 827332"/>
                <a:gd name="connsiteX1" fmla="*/ 1406738 w 1421595"/>
                <a:gd name="connsiteY1" fmla="*/ 103432 h 827332"/>
                <a:gd name="connsiteX2" fmla="*/ 551869 w 1421595"/>
                <a:gd name="connsiteY2" fmla="*/ 39138 h 827332"/>
                <a:gd name="connsiteX3" fmla="*/ 18469 w 1421595"/>
                <a:gd name="connsiteY3" fmla="*/ 508244 h 827332"/>
                <a:gd name="connsiteX4" fmla="*/ 4182 w 1421595"/>
                <a:gd name="connsiteY4" fmla="*/ 827332 h 827332"/>
                <a:gd name="connsiteX5" fmla="*/ 287550 w 1421595"/>
                <a:gd name="connsiteY5" fmla="*/ 477288 h 827332"/>
                <a:gd name="connsiteX6" fmla="*/ 825713 w 1421595"/>
                <a:gd name="connsiteY6" fmla="*/ 410613 h 827332"/>
                <a:gd name="connsiteX7" fmla="*/ 1409119 w 1421595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9564"/>
                <a:gd name="connsiteY0" fmla="*/ 674932 h 827332"/>
                <a:gd name="connsiteX1" fmla="*/ 1414707 w 1429564"/>
                <a:gd name="connsiteY1" fmla="*/ 103432 h 827332"/>
                <a:gd name="connsiteX2" fmla="*/ 559838 w 1429564"/>
                <a:gd name="connsiteY2" fmla="*/ 39138 h 827332"/>
                <a:gd name="connsiteX3" fmla="*/ 26438 w 1429564"/>
                <a:gd name="connsiteY3" fmla="*/ 508244 h 827332"/>
                <a:gd name="connsiteX4" fmla="*/ 12151 w 1429564"/>
                <a:gd name="connsiteY4" fmla="*/ 827332 h 827332"/>
                <a:gd name="connsiteX5" fmla="*/ 295519 w 1429564"/>
                <a:gd name="connsiteY5" fmla="*/ 477288 h 827332"/>
                <a:gd name="connsiteX6" fmla="*/ 833682 w 1429564"/>
                <a:gd name="connsiteY6" fmla="*/ 410613 h 827332"/>
                <a:gd name="connsiteX7" fmla="*/ 1417088 w 1429564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17088 w 1428573"/>
                <a:gd name="connsiteY0" fmla="*/ 674932 h 827332"/>
                <a:gd name="connsiteX1" fmla="*/ 1414707 w 1428573"/>
                <a:gd name="connsiteY1" fmla="*/ 103432 h 827332"/>
                <a:gd name="connsiteX2" fmla="*/ 559838 w 1428573"/>
                <a:gd name="connsiteY2" fmla="*/ 39138 h 827332"/>
                <a:gd name="connsiteX3" fmla="*/ 26438 w 1428573"/>
                <a:gd name="connsiteY3" fmla="*/ 508244 h 827332"/>
                <a:gd name="connsiteX4" fmla="*/ 12151 w 1428573"/>
                <a:gd name="connsiteY4" fmla="*/ 827332 h 827332"/>
                <a:gd name="connsiteX5" fmla="*/ 295519 w 1428573"/>
                <a:gd name="connsiteY5" fmla="*/ 477288 h 827332"/>
                <a:gd name="connsiteX6" fmla="*/ 833682 w 1428573"/>
                <a:gd name="connsiteY6" fmla="*/ 410613 h 827332"/>
                <a:gd name="connsiteX7" fmla="*/ 1417088 w 1428573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20075 w 1431560"/>
                <a:gd name="connsiteY0" fmla="*/ 674932 h 827332"/>
                <a:gd name="connsiteX1" fmla="*/ 1417694 w 1431560"/>
                <a:gd name="connsiteY1" fmla="*/ 103432 h 827332"/>
                <a:gd name="connsiteX2" fmla="*/ 562825 w 1431560"/>
                <a:gd name="connsiteY2" fmla="*/ 39138 h 827332"/>
                <a:gd name="connsiteX3" fmla="*/ 29425 w 1431560"/>
                <a:gd name="connsiteY3" fmla="*/ 508244 h 827332"/>
                <a:gd name="connsiteX4" fmla="*/ 15138 w 1431560"/>
                <a:gd name="connsiteY4" fmla="*/ 827332 h 827332"/>
                <a:gd name="connsiteX5" fmla="*/ 298506 w 1431560"/>
                <a:gd name="connsiteY5" fmla="*/ 477288 h 827332"/>
                <a:gd name="connsiteX6" fmla="*/ 836669 w 1431560"/>
                <a:gd name="connsiteY6" fmla="*/ 410613 h 827332"/>
                <a:gd name="connsiteX7" fmla="*/ 1420075 w 1431560"/>
                <a:gd name="connsiteY7" fmla="*/ 674932 h 827332"/>
                <a:gd name="connsiteX0" fmla="*/ 1417089 w 1428574"/>
                <a:gd name="connsiteY0" fmla="*/ 674932 h 827332"/>
                <a:gd name="connsiteX1" fmla="*/ 1414708 w 1428574"/>
                <a:gd name="connsiteY1" fmla="*/ 103432 h 827332"/>
                <a:gd name="connsiteX2" fmla="*/ 559839 w 1428574"/>
                <a:gd name="connsiteY2" fmla="*/ 39138 h 827332"/>
                <a:gd name="connsiteX3" fmla="*/ 26439 w 1428574"/>
                <a:gd name="connsiteY3" fmla="*/ 508244 h 827332"/>
                <a:gd name="connsiteX4" fmla="*/ 12152 w 1428574"/>
                <a:gd name="connsiteY4" fmla="*/ 827332 h 827332"/>
                <a:gd name="connsiteX5" fmla="*/ 295520 w 1428574"/>
                <a:gd name="connsiteY5" fmla="*/ 477288 h 827332"/>
                <a:gd name="connsiteX6" fmla="*/ 833683 w 1428574"/>
                <a:gd name="connsiteY6" fmla="*/ 410613 h 827332"/>
                <a:gd name="connsiteX7" fmla="*/ 1417089 w 1428574"/>
                <a:gd name="connsiteY7" fmla="*/ 674932 h 82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8574" h="827332">
                  <a:moveTo>
                    <a:pt x="1417089" y="674932"/>
                  </a:moveTo>
                  <a:cubicBezTo>
                    <a:pt x="1435346" y="448714"/>
                    <a:pt x="1429789" y="289169"/>
                    <a:pt x="1414708" y="103432"/>
                  </a:cubicBezTo>
                  <a:cubicBezTo>
                    <a:pt x="1129752" y="1038"/>
                    <a:pt x="880514" y="-34681"/>
                    <a:pt x="559839" y="39138"/>
                  </a:cubicBezTo>
                  <a:cubicBezTo>
                    <a:pt x="324968" y="93205"/>
                    <a:pt x="103590" y="255487"/>
                    <a:pt x="26439" y="508244"/>
                  </a:cubicBezTo>
                  <a:cubicBezTo>
                    <a:pt x="-7732" y="620193"/>
                    <a:pt x="-4518" y="728112"/>
                    <a:pt x="12152" y="827332"/>
                  </a:cubicBezTo>
                  <a:cubicBezTo>
                    <a:pt x="28424" y="650723"/>
                    <a:pt x="130471" y="560134"/>
                    <a:pt x="295520" y="477288"/>
                  </a:cubicBezTo>
                  <a:cubicBezTo>
                    <a:pt x="460084" y="394686"/>
                    <a:pt x="654458" y="387116"/>
                    <a:pt x="833683" y="410613"/>
                  </a:cubicBezTo>
                  <a:cubicBezTo>
                    <a:pt x="1142452" y="451094"/>
                    <a:pt x="1298820" y="584445"/>
                    <a:pt x="1417089" y="674932"/>
                  </a:cubicBezTo>
                  <a:close/>
                </a:path>
              </a:pathLst>
            </a:custGeom>
            <a:solidFill>
              <a:srgbClr val="0F238D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 eaLnBrk="0" hangingPunct="0"/>
              <a:endParaRPr lang="en-US" sz="1800">
                <a:solidFill>
                  <a:srgbClr val="0F238C"/>
                </a:solidFill>
              </a:endParaRPr>
            </a:p>
          </p:txBody>
        </p:sp>
      </p:grp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792000"/>
            <a:ext cx="7610400" cy="396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sz="600" dirty="0"/>
              <a:t>Zesde niveau</a:t>
            </a:r>
          </a:p>
          <a:p>
            <a:pPr lvl="6"/>
            <a:r>
              <a:rPr lang="nl-NL" sz="450" dirty="0"/>
              <a:t>Zevende niveau</a:t>
            </a:r>
          </a:p>
          <a:p>
            <a:pPr lvl="7"/>
            <a:r>
              <a:rPr lang="nl-NL" sz="300" dirty="0"/>
              <a:t>Achtste niveau</a:t>
            </a:r>
            <a:endParaRPr lang="nl-NL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52231" y="514800"/>
            <a:ext cx="751973" cy="9144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25" b="1">
                <a:solidFill>
                  <a:schemeClr val="tx1"/>
                </a:solidFill>
                <a:latin typeface="+mn-lt"/>
              </a:defRPr>
            </a:lvl1pPr>
          </a:lstStyle>
          <a:p>
            <a:pPr defTabSz="685800" eaLnBrk="0" hangingPunct="0"/>
            <a:r>
              <a:rPr lang="en-US">
                <a:solidFill>
                  <a:srgbClr val="0F238C"/>
                </a:solidFill>
                <a:ea typeface="ＭＳ Ｐゴシック" charset="0"/>
              </a:rPr>
              <a:t>Confidential</a:t>
            </a:r>
            <a:endParaRPr lang="en-US" dirty="0">
              <a:solidFill>
                <a:srgbClr val="0F238C"/>
              </a:solidFill>
              <a:ea typeface="ＭＳ Ｐゴシック" charset="0"/>
            </a:endParaRPr>
          </a:p>
        </p:txBody>
      </p:sp>
      <p:pic>
        <p:nvPicPr>
          <p:cNvPr id="19" name="Picture 15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7147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577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hf hdr="0"/>
  <p:txStyles>
    <p:titleStyle>
      <a:lvl1pPr algn="l" defTabSz="6858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None/>
        <a:defRPr sz="1350" kern="120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57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407194" indent="-1357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3pPr>
      <a:lvl4pPr marL="535781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671513" indent="-1357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Char char="•"/>
        <a:defRPr sz="750" kern="1200">
          <a:solidFill>
            <a:schemeClr val="tx2"/>
          </a:solidFill>
          <a:latin typeface="+mn-lt"/>
          <a:ea typeface="+mn-ea"/>
          <a:cs typeface="+mn-cs"/>
        </a:defRPr>
      </a:lvl5pPr>
      <a:lvl6pPr marL="807244" indent="-13454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Char char="•"/>
        <a:defRPr sz="600" kern="1200">
          <a:solidFill>
            <a:schemeClr val="tx2"/>
          </a:solidFill>
          <a:latin typeface="+mn-lt"/>
          <a:ea typeface="+mn-ea"/>
          <a:cs typeface="+mn-cs"/>
        </a:defRPr>
      </a:lvl6pPr>
      <a:lvl7pPr marL="941785" indent="-13454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Char char="•"/>
        <a:defRPr sz="45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076325" indent="-13454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itchFamily="34" charset="0"/>
        <a:buChar char="•"/>
        <a:defRPr sz="3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Working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way </a:t>
            </a:r>
            <a:r>
              <a:rPr lang="nl-NL" dirty="0" err="1"/>
              <a:t>through</a:t>
            </a:r>
            <a:r>
              <a:rPr lang="nl-NL" dirty="0"/>
              <a:t> the V-diagra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E589B-AAA2-4E83-AFD3-2993C58A57EE}" type="datetime3">
              <a:rPr lang="en-US" smtClean="0"/>
              <a:pPr/>
              <a:t>16 July 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Slide </a:t>
            </a:r>
            <a:fld id="{2BF23E3A-8558-42B9-AEEE-59D910584A16}" type="slidenum">
              <a:rPr lang="en-US" smtClean="0"/>
              <a:pPr/>
              <a:t>1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942975" y="2528001"/>
            <a:ext cx="611505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962400" y="542925"/>
            <a:ext cx="11906" cy="4200525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3961209" y="1234982"/>
            <a:ext cx="1643937" cy="459581"/>
          </a:xfrm>
          <a:prstGeom prst="wedgeEllipseCallout">
            <a:avLst>
              <a:gd name="adj1" fmla="val -37838"/>
              <a:gd name="adj2" fmla="val 147898"/>
            </a:avLst>
          </a:prstGeom>
          <a:noFill/>
          <a:ln w="6350" algn="ctr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lnSpc>
                <a:spcPct val="95000"/>
              </a:lnSpc>
            </a:pPr>
            <a:r>
              <a:rPr lang="en-US" sz="900">
                <a:solidFill>
                  <a:srgbClr val="FF0000"/>
                </a:solidFill>
                <a:ea typeface="+mn-ea"/>
              </a:rPr>
              <a:t>Qualify design versus requirements at all levels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5974518" y="2036272"/>
            <a:ext cx="72747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(Alpha test)</a:t>
            </a:r>
          </a:p>
        </p:txBody>
      </p:sp>
      <p:cxnSp>
        <p:nvCxnSpPr>
          <p:cNvPr id="12" name="AutoShape 6"/>
          <p:cNvCxnSpPr>
            <a:cxnSpLocks noChangeShapeType="1"/>
            <a:stCxn id="11" idx="2"/>
            <a:endCxn id="3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6257590" y="2527108"/>
            <a:ext cx="160734" cy="595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accent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3239691" y="3180463"/>
            <a:ext cx="479822" cy="409575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DS</a:t>
            </a: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3239691" y="3762678"/>
            <a:ext cx="479822" cy="410766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000000"/>
                </a:solidFill>
                <a:ea typeface="+mn-ea"/>
                <a:cs typeface="Arial" charset="0"/>
              </a:rPr>
              <a:t>TPD</a:t>
            </a:r>
          </a:p>
        </p:txBody>
      </p:sp>
      <p:cxnSp>
        <p:nvCxnSpPr>
          <p:cNvPr id="15" name="AutoShape 13"/>
          <p:cNvCxnSpPr>
            <a:cxnSpLocks noChangeShapeType="1"/>
            <a:endCxn id="14" idx="0"/>
          </p:cNvCxnSpPr>
          <p:nvPr/>
        </p:nvCxnSpPr>
        <p:spPr bwMode="auto">
          <a:xfrm>
            <a:off x="3480196" y="3600753"/>
            <a:ext cx="0" cy="161925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tangle 16"/>
          <p:cNvSpPr>
            <a:spLocks noChangeArrowheads="1"/>
          </p:cNvSpPr>
          <p:nvPr/>
        </p:nvSpPr>
        <p:spPr bwMode="auto">
          <a:xfrm>
            <a:off x="3609975" y="4265122"/>
            <a:ext cx="601265" cy="410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Parts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SW Code</a:t>
            </a: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4063603" y="3762678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Parts</a:t>
            </a:r>
          </a:p>
        </p:txBody>
      </p:sp>
      <p:cxnSp>
        <p:nvCxnSpPr>
          <p:cNvPr id="18" name="AutoShape 21"/>
          <p:cNvCxnSpPr>
            <a:cxnSpLocks noChangeShapeType="1"/>
            <a:endCxn id="16" idx="1"/>
          </p:cNvCxnSpPr>
          <p:nvPr/>
        </p:nvCxnSpPr>
        <p:spPr bwMode="auto">
          <a:xfrm rot="16200000" flipH="1">
            <a:off x="3396258" y="4257383"/>
            <a:ext cx="297656" cy="129779"/>
          </a:xfrm>
          <a:prstGeom prst="bentConnector2">
            <a:avLst/>
          </a:prstGeom>
          <a:noFill/>
          <a:ln w="6350">
            <a:solidFill>
              <a:schemeClr val="accent1"/>
            </a:solidFill>
            <a:miter lim="800000"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23"/>
          <p:cNvSpPr>
            <a:spLocks noChangeArrowheads="1"/>
          </p:cNvSpPr>
          <p:nvPr/>
        </p:nvSpPr>
        <p:spPr bwMode="auto">
          <a:xfrm>
            <a:off x="2607840" y="26077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DS</a:t>
            </a:r>
          </a:p>
        </p:txBody>
      </p:sp>
      <p:sp>
        <p:nvSpPr>
          <p:cNvPr id="20" name="Rectangle 26"/>
          <p:cNvSpPr>
            <a:spLocks noChangeArrowheads="1"/>
          </p:cNvSpPr>
          <p:nvPr/>
        </p:nvSpPr>
        <p:spPr bwMode="auto">
          <a:xfrm>
            <a:off x="2607840" y="3189989"/>
            <a:ext cx="479822" cy="410765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PS TPS</a:t>
            </a:r>
          </a:p>
        </p:txBody>
      </p:sp>
      <p:cxnSp>
        <p:nvCxnSpPr>
          <p:cNvPr id="21" name="AutoShape 28"/>
          <p:cNvCxnSpPr>
            <a:cxnSpLocks noChangeShapeType="1"/>
          </p:cNvCxnSpPr>
          <p:nvPr/>
        </p:nvCxnSpPr>
        <p:spPr bwMode="auto">
          <a:xfrm>
            <a:off x="2909887" y="3018538"/>
            <a:ext cx="0" cy="17145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29"/>
          <p:cNvCxnSpPr>
            <a:cxnSpLocks noChangeShapeType="1"/>
            <a:stCxn id="20" idx="3"/>
            <a:endCxn id="13" idx="1"/>
          </p:cNvCxnSpPr>
          <p:nvPr/>
        </p:nvCxnSpPr>
        <p:spPr bwMode="auto">
          <a:xfrm flipV="1">
            <a:off x="3087662" y="3385250"/>
            <a:ext cx="152028" cy="10121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30"/>
          <p:cNvCxnSpPr>
            <a:cxnSpLocks noChangeShapeType="1"/>
            <a:stCxn id="16" idx="3"/>
          </p:cNvCxnSpPr>
          <p:nvPr/>
        </p:nvCxnSpPr>
        <p:spPr bwMode="auto">
          <a:xfrm flipV="1">
            <a:off x="4211240" y="4173445"/>
            <a:ext cx="92869" cy="297656"/>
          </a:xfrm>
          <a:prstGeom prst="bentConnector2">
            <a:avLst/>
          </a:prstGeom>
          <a:noFill/>
          <a:ln w="6350">
            <a:solidFill>
              <a:schemeClr val="accent1"/>
            </a:solidFill>
            <a:miter lim="800000"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AutoShape 31"/>
          <p:cNvSpPr>
            <a:spLocks noChangeArrowheads="1"/>
          </p:cNvSpPr>
          <p:nvPr/>
        </p:nvSpPr>
        <p:spPr bwMode="auto">
          <a:xfrm flipH="1">
            <a:off x="2613421" y="2164860"/>
            <a:ext cx="3143250" cy="311944"/>
          </a:xfrm>
          <a:prstGeom prst="curvedDownArrow">
            <a:avLst>
              <a:gd name="adj1" fmla="val 28643"/>
              <a:gd name="adj2" fmla="val 181001"/>
              <a:gd name="adj3" fmla="val 32829"/>
            </a:avLst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l">
              <a:lnSpc>
                <a:spcPct val="95000"/>
              </a:lnSpc>
            </a:pPr>
            <a:endParaRPr lang="nl-NL" sz="1200">
              <a:solidFill>
                <a:srgbClr val="1C7DDB"/>
              </a:solidFill>
              <a:ea typeface="+mn-ea"/>
            </a:endParaRPr>
          </a:p>
        </p:txBody>
      </p:sp>
      <p:sp>
        <p:nvSpPr>
          <p:cNvPr id="25" name="Rectangle 35"/>
          <p:cNvSpPr>
            <a:spLocks noChangeArrowheads="1"/>
          </p:cNvSpPr>
          <p:nvPr/>
        </p:nvSpPr>
        <p:spPr bwMode="auto">
          <a:xfrm>
            <a:off x="6361509" y="1464772"/>
            <a:ext cx="72747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(Beta test)</a:t>
            </a:r>
          </a:p>
        </p:txBody>
      </p:sp>
      <p:sp>
        <p:nvSpPr>
          <p:cNvPr id="26" name="Rectangle 38"/>
          <p:cNvSpPr>
            <a:spLocks noChangeArrowheads="1"/>
          </p:cNvSpPr>
          <p:nvPr/>
        </p:nvSpPr>
        <p:spPr bwMode="auto">
          <a:xfrm>
            <a:off x="1317203" y="20362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SPS</a:t>
            </a:r>
          </a:p>
        </p:txBody>
      </p:sp>
      <p:sp>
        <p:nvSpPr>
          <p:cNvPr id="27" name="Rectangle 41"/>
          <p:cNvSpPr>
            <a:spLocks noChangeArrowheads="1"/>
          </p:cNvSpPr>
          <p:nvPr/>
        </p:nvSpPr>
        <p:spPr bwMode="auto">
          <a:xfrm>
            <a:off x="1974428" y="20362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SDS</a:t>
            </a:r>
          </a:p>
        </p:txBody>
      </p:sp>
      <p:sp>
        <p:nvSpPr>
          <p:cNvPr id="28" name="Rectangle 46"/>
          <p:cNvSpPr>
            <a:spLocks noChangeArrowheads="1"/>
          </p:cNvSpPr>
          <p:nvPr/>
        </p:nvSpPr>
        <p:spPr bwMode="auto">
          <a:xfrm>
            <a:off x="1974428" y="26077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 dirty="0">
                <a:solidFill>
                  <a:srgbClr val="1C7DDB"/>
                </a:solidFill>
                <a:ea typeface="+mn-ea"/>
              </a:rPr>
              <a:t>EPS TPS</a:t>
            </a:r>
          </a:p>
        </p:txBody>
      </p:sp>
      <p:cxnSp>
        <p:nvCxnSpPr>
          <p:cNvPr id="29" name="AutoShape 48"/>
          <p:cNvCxnSpPr>
            <a:cxnSpLocks noChangeShapeType="1"/>
            <a:endCxn id="28" idx="0"/>
          </p:cNvCxnSpPr>
          <p:nvPr/>
        </p:nvCxnSpPr>
        <p:spPr bwMode="auto">
          <a:xfrm>
            <a:off x="2214934" y="2447038"/>
            <a:ext cx="0" cy="160734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AutoShape 49"/>
          <p:cNvCxnSpPr>
            <a:cxnSpLocks noChangeShapeType="1"/>
            <a:stCxn id="28" idx="3"/>
            <a:endCxn id="19" idx="1"/>
          </p:cNvCxnSpPr>
          <p:nvPr/>
        </p:nvCxnSpPr>
        <p:spPr bwMode="auto">
          <a:xfrm>
            <a:off x="2454250" y="2813155"/>
            <a:ext cx="153591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51"/>
          <p:cNvSpPr>
            <a:spLocks noChangeArrowheads="1"/>
          </p:cNvSpPr>
          <p:nvPr/>
        </p:nvSpPr>
        <p:spPr bwMode="auto">
          <a:xfrm>
            <a:off x="1193378" y="1464772"/>
            <a:ext cx="72747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PRS</a:t>
            </a:r>
          </a:p>
        </p:txBody>
      </p:sp>
      <p:cxnSp>
        <p:nvCxnSpPr>
          <p:cNvPr id="32" name="AutoShape 53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 rot="5400000">
            <a:off x="6423422" y="1733854"/>
            <a:ext cx="160734" cy="444103"/>
          </a:xfrm>
          <a:prstGeom prst="bentConnector3">
            <a:avLst>
              <a:gd name="adj1" fmla="val 49630"/>
            </a:avLst>
          </a:prstGeom>
          <a:noFill/>
          <a:ln w="6350">
            <a:solidFill>
              <a:schemeClr val="accent1"/>
            </a:solidFill>
            <a:miter lim="800000"/>
            <a:headEnd type="triangle" w="med" len="med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ctangle 55"/>
          <p:cNvSpPr>
            <a:spLocks noChangeArrowheads="1"/>
          </p:cNvSpPr>
          <p:nvPr/>
        </p:nvSpPr>
        <p:spPr bwMode="auto">
          <a:xfrm>
            <a:off x="4737497" y="3189989"/>
            <a:ext cx="479822" cy="410765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</p:txBody>
      </p:sp>
      <p:sp>
        <p:nvSpPr>
          <p:cNvPr id="34" name="Rectangle 58"/>
          <p:cNvSpPr>
            <a:spLocks noChangeArrowheads="1"/>
          </p:cNvSpPr>
          <p:nvPr/>
        </p:nvSpPr>
        <p:spPr bwMode="auto">
          <a:xfrm>
            <a:off x="4692253" y="3751330"/>
            <a:ext cx="569119" cy="410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tegrate 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module</a:t>
            </a:r>
          </a:p>
        </p:txBody>
      </p:sp>
      <p:sp>
        <p:nvSpPr>
          <p:cNvPr id="35" name="Rectangle 61"/>
          <p:cNvSpPr>
            <a:spLocks noChangeArrowheads="1"/>
          </p:cNvSpPr>
          <p:nvPr/>
        </p:nvSpPr>
        <p:spPr bwMode="auto">
          <a:xfrm>
            <a:off x="5380397" y="3189989"/>
            <a:ext cx="569119" cy="4107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tegrate 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 subsys</a:t>
            </a:r>
          </a:p>
        </p:txBody>
      </p:sp>
      <p:sp>
        <p:nvSpPr>
          <p:cNvPr id="36" name="Rectangle 64"/>
          <p:cNvSpPr>
            <a:spLocks noChangeArrowheads="1"/>
          </p:cNvSpPr>
          <p:nvPr/>
        </p:nvSpPr>
        <p:spPr bwMode="auto">
          <a:xfrm>
            <a:off x="5424450" y="2607772"/>
            <a:ext cx="479822" cy="410766"/>
          </a:xfrm>
          <a:prstGeom prst="rect">
            <a:avLst/>
          </a:prstGeom>
          <a:solidFill>
            <a:schemeClr val="accent1">
              <a:lumMod val="40000"/>
              <a:lumOff val="60000"/>
              <a:alpha val="7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TAR</a:t>
            </a:r>
          </a:p>
        </p:txBody>
      </p:sp>
      <p:sp>
        <p:nvSpPr>
          <p:cNvPr id="37" name="Rectangle 67"/>
          <p:cNvSpPr>
            <a:spLocks noChangeArrowheads="1"/>
          </p:cNvSpPr>
          <p:nvPr/>
        </p:nvSpPr>
        <p:spPr bwMode="auto">
          <a:xfrm>
            <a:off x="6053100" y="2607772"/>
            <a:ext cx="569119" cy="410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algn="ctr">
            <a:solidFill>
              <a:srgbClr val="669900"/>
            </a:solidFill>
            <a:miter lim="800000"/>
            <a:headEnd/>
            <a:tailEnd/>
          </a:ln>
          <a:effectLst/>
        </p:spPr>
        <p:txBody>
          <a:bodyPr lIns="34290" rIns="0" bIns="0"/>
          <a:lstStyle/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tegrate </a:t>
            </a:r>
          </a:p>
          <a:p>
            <a:pPr>
              <a:lnSpc>
                <a:spcPct val="80000"/>
              </a:lnSpc>
              <a:defRPr/>
            </a:pPr>
            <a:r>
              <a:rPr lang="en-US" sz="900" b="1">
                <a:solidFill>
                  <a:srgbClr val="1C7DDB"/>
                </a:solidFill>
                <a:ea typeface="+mn-ea"/>
              </a:rPr>
              <a:t>in proto</a:t>
            </a:r>
          </a:p>
        </p:txBody>
      </p:sp>
      <p:cxnSp>
        <p:nvCxnSpPr>
          <p:cNvPr id="38" name="AutoShape 72"/>
          <p:cNvCxnSpPr>
            <a:cxnSpLocks noChangeShapeType="1"/>
          </p:cNvCxnSpPr>
          <p:nvPr/>
        </p:nvCxnSpPr>
        <p:spPr bwMode="auto">
          <a:xfrm>
            <a:off x="5905089" y="2813751"/>
            <a:ext cx="148829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AutoShape 74"/>
          <p:cNvCxnSpPr>
            <a:cxnSpLocks noChangeShapeType="1"/>
            <a:endCxn id="35" idx="0"/>
          </p:cNvCxnSpPr>
          <p:nvPr>
            <p:custDataLst>
              <p:tags r:id="rId3"/>
            </p:custDataLst>
          </p:nvPr>
        </p:nvCxnSpPr>
        <p:spPr bwMode="auto">
          <a:xfrm>
            <a:off x="5664956" y="3018538"/>
            <a:ext cx="0" cy="17145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AutoShape 75"/>
          <p:cNvCxnSpPr>
            <a:cxnSpLocks noChangeShapeType="1"/>
            <a:stCxn id="33" idx="3"/>
            <a:endCxn id="35" idx="1"/>
          </p:cNvCxnSpPr>
          <p:nvPr/>
        </p:nvCxnSpPr>
        <p:spPr bwMode="auto">
          <a:xfrm>
            <a:off x="5217319" y="3395371"/>
            <a:ext cx="163078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AutoShape 76"/>
          <p:cNvCxnSpPr>
            <a:cxnSpLocks noChangeShapeType="1"/>
            <a:stCxn id="33" idx="2"/>
            <a:endCxn id="34" idx="0"/>
          </p:cNvCxnSpPr>
          <p:nvPr>
            <p:custDataLst>
              <p:tags r:id="rId4"/>
            </p:custDataLst>
          </p:nvPr>
        </p:nvCxnSpPr>
        <p:spPr bwMode="auto">
          <a:xfrm rot="5400000">
            <a:off x="4901822" y="3675743"/>
            <a:ext cx="150577" cy="596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accent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AutoShape 77"/>
          <p:cNvCxnSpPr>
            <a:cxnSpLocks noChangeShapeType="1"/>
          </p:cNvCxnSpPr>
          <p:nvPr/>
        </p:nvCxnSpPr>
        <p:spPr bwMode="auto">
          <a:xfrm>
            <a:off x="4543425" y="3968657"/>
            <a:ext cx="148828" cy="0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 type="triangle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Rectangle 8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09700" y="910026"/>
            <a:ext cx="6591300" cy="211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defRPr/>
            </a:pPr>
            <a:r>
              <a:rPr lang="en-GB" sz="1500" b="1" dirty="0">
                <a:solidFill>
                  <a:srgbClr val="FF0000"/>
                </a:solidFill>
                <a:ea typeface="+mn-ea"/>
                <a:cs typeface="Arial" charset="0"/>
              </a:rPr>
              <a:t>SPECIFY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 from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SYSTEM 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to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PART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     </a:t>
            </a:r>
            <a:r>
              <a:rPr lang="en-GB" sz="1500" b="1" dirty="0">
                <a:solidFill>
                  <a:srgbClr val="FF0000"/>
                </a:solidFill>
                <a:ea typeface="+mn-ea"/>
                <a:cs typeface="Arial" charset="0"/>
              </a:rPr>
              <a:t> QUALIFY 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from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PART </a:t>
            </a:r>
            <a:r>
              <a:rPr lang="en-GB" sz="1500" b="1" dirty="0">
                <a:solidFill>
                  <a:srgbClr val="0F238C"/>
                </a:solidFill>
                <a:ea typeface="+mn-ea"/>
                <a:cs typeface="Arial" charset="0"/>
              </a:rPr>
              <a:t>to </a:t>
            </a:r>
            <a:r>
              <a:rPr lang="en-GB" sz="1500" b="1" i="1" dirty="0">
                <a:solidFill>
                  <a:srgbClr val="0F238C"/>
                </a:solidFill>
                <a:ea typeface="+mn-ea"/>
                <a:cs typeface="Arial" charset="0"/>
              </a:rPr>
              <a:t>SYSTEM</a:t>
            </a:r>
            <a:endParaRPr lang="en-GB" sz="1500" dirty="0">
              <a:solidFill>
                <a:srgbClr val="1C7DDB"/>
              </a:solidFill>
              <a:ea typeface="+mn-ea"/>
              <a:cs typeface="Arial" charset="0"/>
            </a:endParaRPr>
          </a:p>
        </p:txBody>
      </p:sp>
      <p:cxnSp>
        <p:nvCxnSpPr>
          <p:cNvPr id="44" name="AutoShape 85"/>
          <p:cNvCxnSpPr>
            <a:cxnSpLocks noChangeShapeType="1"/>
            <a:stCxn id="26" idx="3"/>
            <a:endCxn id="27" idx="1"/>
          </p:cNvCxnSpPr>
          <p:nvPr/>
        </p:nvCxnSpPr>
        <p:spPr bwMode="auto">
          <a:xfrm>
            <a:off x="1797024" y="2241655"/>
            <a:ext cx="177404" cy="0"/>
          </a:xfrm>
          <a:prstGeom prst="straightConnector1">
            <a:avLst/>
          </a:prstGeom>
          <a:noFill/>
          <a:ln w="9525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AutoShape 86"/>
          <p:cNvCxnSpPr>
            <a:cxnSpLocks noChangeShapeType="1"/>
          </p:cNvCxnSpPr>
          <p:nvPr/>
        </p:nvCxnSpPr>
        <p:spPr bwMode="auto">
          <a:xfrm rot="5400000">
            <a:off x="1538883" y="1955905"/>
            <a:ext cx="160734" cy="0"/>
          </a:xfrm>
          <a:prstGeom prst="straightConnector1">
            <a:avLst/>
          </a:prstGeom>
          <a:noFill/>
          <a:ln w="9525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Straight Connector 45"/>
          <p:cNvCxnSpPr/>
          <p:nvPr/>
        </p:nvCxnSpPr>
        <p:spPr>
          <a:xfrm>
            <a:off x="902494" y="3112597"/>
            <a:ext cx="611505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ontent Placeholder 2"/>
          <p:cNvSpPr txBox="1">
            <a:spLocks/>
          </p:cNvSpPr>
          <p:nvPr/>
        </p:nvSpPr>
        <p:spPr bwMode="auto">
          <a:xfrm>
            <a:off x="614363" y="3263807"/>
            <a:ext cx="586978" cy="264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Module</a:t>
            </a:r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8" name="Content Placeholder 2"/>
          <p:cNvSpPr txBox="1">
            <a:spLocks/>
          </p:cNvSpPr>
          <p:nvPr/>
        </p:nvSpPr>
        <p:spPr bwMode="auto">
          <a:xfrm>
            <a:off x="609600" y="2619678"/>
            <a:ext cx="648890" cy="414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Sub</a:t>
            </a:r>
          </a:p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system</a:t>
            </a:r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49" name="Content Placeholder 2"/>
          <p:cNvSpPr txBox="1">
            <a:spLocks/>
          </p:cNvSpPr>
          <p:nvPr/>
        </p:nvSpPr>
        <p:spPr bwMode="auto">
          <a:xfrm>
            <a:off x="619125" y="2164860"/>
            <a:ext cx="628650" cy="240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 dirty="0">
                <a:solidFill>
                  <a:srgbClr val="FF0000"/>
                </a:solidFill>
              </a:rPr>
              <a:t>System</a:t>
            </a:r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50" name="Right Arrow 49"/>
          <p:cNvSpPr/>
          <p:nvPr/>
        </p:nvSpPr>
        <p:spPr>
          <a:xfrm rot="2785958">
            <a:off x="1516128" y="2252126"/>
            <a:ext cx="3082529" cy="557213"/>
          </a:xfrm>
          <a:prstGeom prst="rightArrow">
            <a:avLst/>
          </a:prstGeom>
          <a:solidFill>
            <a:srgbClr val="FF0000">
              <a:alpha val="20000"/>
            </a:srgb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5000"/>
              </a:lnSpc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Right Arrow 50"/>
          <p:cNvSpPr/>
          <p:nvPr/>
        </p:nvSpPr>
        <p:spPr>
          <a:xfrm rot="18767837">
            <a:off x="3804573" y="2188876"/>
            <a:ext cx="2882572" cy="565547"/>
          </a:xfrm>
          <a:prstGeom prst="rightArrow">
            <a:avLst/>
          </a:prstGeom>
          <a:solidFill>
            <a:srgbClr val="FF0000">
              <a:alpha val="20000"/>
            </a:srgb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5000"/>
              </a:lnSpc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auto">
          <a:xfrm>
            <a:off x="6592370" y="3580665"/>
            <a:ext cx="2519363" cy="1553766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sx="99001" sy="99001" algn="ctr" rotWithShape="0">
              <a:schemeClr val="tx1">
                <a:alpha val="43999"/>
              </a:schemeClr>
            </a:outerShdw>
          </a:effectLst>
        </p:spPr>
        <p:txBody>
          <a:bodyPr wrap="none" lIns="13716" tIns="13716" rIns="0" bIns="0" anchor="ctr"/>
          <a:lstStyle/>
          <a:p>
            <a:pPr>
              <a:lnSpc>
                <a:spcPct val="90000"/>
              </a:lnSpc>
            </a:pPr>
            <a:endParaRPr lang="en-US" sz="750" b="1">
              <a:solidFill>
                <a:srgbClr val="1C7DDB"/>
              </a:solidFill>
              <a:ea typeface="+mn-ea"/>
            </a:endParaRPr>
          </a:p>
        </p:txBody>
      </p:sp>
      <p:sp>
        <p:nvSpPr>
          <p:cNvPr id="54" name="Content Placeholder 2"/>
          <p:cNvSpPr txBox="1">
            <a:spLocks/>
          </p:cNvSpPr>
          <p:nvPr/>
        </p:nvSpPr>
        <p:spPr bwMode="auto">
          <a:xfrm>
            <a:off x="828033" y="1175473"/>
            <a:ext cx="1458162" cy="199002"/>
          </a:xfrm>
          <a:prstGeom prst="rect">
            <a:avLst/>
          </a:prstGeom>
          <a:solidFill>
            <a:schemeClr val="accent5">
              <a:lumMod val="40000"/>
              <a:lumOff val="60000"/>
              <a:alpha val="50000"/>
            </a:schemeClr>
          </a:solidFill>
          <a:ln>
            <a:noFill/>
          </a:ln>
          <a:effectLst/>
          <a:extLst/>
        </p:spPr>
        <p:txBody>
          <a:bodyPr lIns="0" tIns="0" rIns="0" bIns="0"/>
          <a:lstStyle>
            <a:lvl1pPr marL="290513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3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855663" indent="-2889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2100">
                <a:solidFill>
                  <a:schemeClr val="accent1"/>
                </a:solidFill>
                <a:latin typeface="+mn-lt"/>
              </a:defRPr>
            </a:lvl2pPr>
            <a:lvl3pPr marL="1422400" indent="-276225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chemeClr val="accent1"/>
                </a:solidFill>
                <a:latin typeface="+mn-lt"/>
              </a:defRPr>
            </a:lvl3pPr>
            <a:lvl4pPr marL="2003425" indent="-290513" algn="l" rtl="0" eaLnBrk="0" fontAlgn="base" hangingPunct="0">
              <a:spcBef>
                <a:spcPct val="10000"/>
              </a:spcBef>
              <a:spcAft>
                <a:spcPct val="20000"/>
              </a:spcAft>
              <a:buClr>
                <a:schemeClr val="accent1"/>
              </a:buClr>
              <a:buSzPct val="110000"/>
              <a:buFont typeface="Arial" charset="0"/>
              <a:buChar char="•"/>
              <a:defRPr sz="1600">
                <a:solidFill>
                  <a:schemeClr val="accent1"/>
                </a:solidFill>
                <a:latin typeface="+mn-lt"/>
              </a:defRPr>
            </a:lvl4pPr>
            <a:lvl5pPr marL="2740025" indent="231775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5pPr>
            <a:lvl6pPr marL="31972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6pPr>
            <a:lvl7pPr marL="36544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7pPr>
            <a:lvl8pPr marL="41116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8pPr>
            <a:lvl9pPr marL="4568825" indent="231775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45000"/>
              <a:buFont typeface="CommonBullets" pitchFamily="34" charset="2"/>
              <a:buChar char="l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>
              <a:lnSpc>
                <a:spcPct val="95000"/>
              </a:lnSpc>
              <a:buClr>
                <a:srgbClr val="1C7DDB"/>
              </a:buClr>
              <a:buNone/>
              <a:defRPr/>
            </a:pPr>
            <a:r>
              <a:rPr lang="en-US" sz="1200"/>
              <a:t>Roadmapping</a:t>
            </a:r>
            <a:endParaRPr lang="en-US" sz="1200" dirty="0"/>
          </a:p>
          <a:p>
            <a:pPr algn="ctr">
              <a:lnSpc>
                <a:spcPct val="95000"/>
              </a:lnSpc>
              <a:buClr>
                <a:srgbClr val="1C7DDB"/>
              </a:buClr>
              <a:defRPr/>
            </a:pPr>
            <a:endParaRPr lang="en-US" sz="1200" dirty="0"/>
          </a:p>
        </p:txBody>
      </p:sp>
      <p:sp>
        <p:nvSpPr>
          <p:cNvPr id="55" name="TextBox 3"/>
          <p:cNvSpPr txBox="1">
            <a:spLocks noChangeArrowheads="1"/>
          </p:cNvSpPr>
          <p:nvPr/>
        </p:nvSpPr>
        <p:spPr bwMode="auto">
          <a:xfrm>
            <a:off x="6592370" y="3580665"/>
            <a:ext cx="2656285" cy="1780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accent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accent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accent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accent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accent1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95000"/>
              </a:lnSpc>
            </a:pPr>
            <a:r>
              <a:rPr lang="en-US" sz="1200" b="1" dirty="0">
                <a:solidFill>
                  <a:srgbClr val="0F238C"/>
                </a:solidFill>
                <a:ea typeface="+mn-ea"/>
                <a:cs typeface="Arial" charset="0"/>
              </a:rPr>
              <a:t>SEG DOCUMENTS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PRS = Product Requirements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SPS = System Performance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SDS = System Design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EPS = Element Performance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EDS = Element Design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TPS = Test performance Spec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F238C"/>
                </a:solidFill>
                <a:ea typeface="+mn-ea"/>
                <a:cs typeface="Arial" charset="0"/>
              </a:rPr>
              <a:t>TAR = Test Acceptance Report</a:t>
            </a:r>
          </a:p>
          <a:p>
            <a:pPr algn="l" eaLnBrk="1" hangingPunct="1">
              <a:lnSpc>
                <a:spcPct val="95000"/>
              </a:lnSpc>
            </a:pPr>
            <a:r>
              <a:rPr lang="en-US" sz="1200" b="1" dirty="0">
                <a:solidFill>
                  <a:srgbClr val="000000"/>
                </a:solidFill>
                <a:ea typeface="+mn-ea"/>
                <a:cs typeface="Arial" charset="0"/>
              </a:rPr>
              <a:t>TPD</a:t>
            </a:r>
            <a:endParaRPr lang="en-US" sz="1200" b="1" dirty="0">
              <a:solidFill>
                <a:srgbClr val="0F238C"/>
              </a:solidFill>
              <a:ea typeface="+mn-ea"/>
              <a:cs typeface="Arial" charset="0"/>
            </a:endParaRPr>
          </a:p>
          <a:p>
            <a:pPr algn="l" eaLnBrk="1" hangingPunct="1">
              <a:lnSpc>
                <a:spcPct val="95000"/>
              </a:lnSpc>
            </a:pPr>
            <a:r>
              <a:rPr lang="en-US" sz="900" b="1" dirty="0">
                <a:solidFill>
                  <a:srgbClr val="000000"/>
                </a:solidFill>
                <a:ea typeface="+mn-ea"/>
                <a:cs typeface="Arial" charset="0"/>
              </a:rPr>
              <a:t>TPD = </a:t>
            </a:r>
            <a:r>
              <a:rPr lang="en-US" sz="900" b="1" dirty="0" err="1">
                <a:solidFill>
                  <a:srgbClr val="000000"/>
                </a:solidFill>
                <a:ea typeface="+mn-ea"/>
                <a:cs typeface="Arial" charset="0"/>
              </a:rPr>
              <a:t>Techn</a:t>
            </a:r>
            <a:r>
              <a:rPr lang="en-US" sz="900" b="1" dirty="0">
                <a:solidFill>
                  <a:srgbClr val="000000"/>
                </a:solidFill>
                <a:ea typeface="+mn-ea"/>
                <a:cs typeface="Arial" charset="0"/>
              </a:rPr>
              <a:t>. Product Documentation</a:t>
            </a:r>
          </a:p>
          <a:p>
            <a:pPr algn="l" eaLnBrk="1" hangingPunct="1">
              <a:lnSpc>
                <a:spcPct val="95000"/>
              </a:lnSpc>
            </a:pPr>
            <a:endParaRPr lang="en-US" sz="1050" b="1" dirty="0">
              <a:solidFill>
                <a:srgbClr val="000000"/>
              </a:solidFill>
              <a:ea typeface="+mn-ea"/>
              <a:cs typeface="Arial" charset="0"/>
            </a:endParaRPr>
          </a:p>
          <a:p>
            <a:pPr algn="l" eaLnBrk="1" hangingPunct="1">
              <a:lnSpc>
                <a:spcPct val="95000"/>
              </a:lnSpc>
            </a:pPr>
            <a:endParaRPr lang="en-US" sz="900" b="1" dirty="0">
              <a:solidFill>
                <a:srgbClr val="0F238C"/>
              </a:solidFill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ED4B5A-4438-40F2-A1A6-1C3A1B6A1864}"/>
              </a:ext>
            </a:extLst>
          </p:cNvPr>
          <p:cNvSpPr txBox="1"/>
          <p:nvPr/>
        </p:nvSpPr>
        <p:spPr>
          <a:xfrm>
            <a:off x="1545266" y="3233788"/>
            <a:ext cx="966611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A4 spec.</a:t>
            </a:r>
          </a:p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Functional TPS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1F62093-9482-40F4-A09D-5A8F794CB4D5}"/>
              </a:ext>
            </a:extLst>
          </p:cNvPr>
          <p:cNvSpPr txBox="1"/>
          <p:nvPr/>
        </p:nvSpPr>
        <p:spPr>
          <a:xfrm>
            <a:off x="5990442" y="3282496"/>
            <a:ext cx="135453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 Functional TAR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81977B6-1A41-4F6E-B49C-FB55F60E6DA2}"/>
              </a:ext>
            </a:extLst>
          </p:cNvPr>
          <p:cNvSpPr txBox="1"/>
          <p:nvPr/>
        </p:nvSpPr>
        <p:spPr>
          <a:xfrm>
            <a:off x="1656153" y="3925678"/>
            <a:ext cx="15562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SW EDS,  SW TPS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713FC20-F87D-4C8F-BBB1-DDC988D1F92C}"/>
              </a:ext>
            </a:extLst>
          </p:cNvPr>
          <p:cNvSpPr txBox="1"/>
          <p:nvPr/>
        </p:nvSpPr>
        <p:spPr>
          <a:xfrm>
            <a:off x="5334474" y="3887093"/>
            <a:ext cx="15562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1050" dirty="0">
                <a:solidFill>
                  <a:srgbClr val="FF0000"/>
                </a:solidFill>
                <a:latin typeface="+mn-lt"/>
              </a:rPr>
              <a:t>(e.g., SW TAR)</a:t>
            </a:r>
          </a:p>
        </p:txBody>
      </p:sp>
    </p:spTree>
    <p:extLst>
      <p:ext uri="{BB962C8B-B14F-4D97-AF65-F5344CB8AC3E}">
        <p14:creationId xmlns:p14="http://schemas.microsoft.com/office/powerpoint/2010/main" val="3517918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xJ0RKDkUmLaayricvB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wZulTxvUGSNnvyhVEH9g"/>
</p:tagLst>
</file>

<file path=ppt/theme/theme1.xml><?xml version="1.0" encoding="utf-8"?>
<a:theme xmlns:a="http://schemas.openxmlformats.org/drawingml/2006/main" name="ASML_POWERPOINT">
  <a:themeElements>
    <a:clrScheme name="ASML Basic Colors">
      <a:dk1>
        <a:srgbClr val="666666"/>
      </a:dk1>
      <a:lt1>
        <a:srgbClr val="FFFFFF"/>
      </a:lt1>
      <a:dk2>
        <a:srgbClr val="1C7DDB"/>
      </a:dk2>
      <a:lt2>
        <a:srgbClr val="86CEF4"/>
      </a:lt2>
      <a:accent1>
        <a:srgbClr val="0F238C"/>
      </a:accent1>
      <a:accent2>
        <a:srgbClr val="999999"/>
      </a:accent2>
      <a:accent3>
        <a:srgbClr val="CCCCCC"/>
      </a:accent3>
      <a:accent4>
        <a:srgbClr val="FF7F45"/>
      </a:accent4>
      <a:accent5>
        <a:srgbClr val="34B233"/>
      </a:accent5>
      <a:accent6>
        <a:srgbClr val="FED100"/>
      </a:accent6>
      <a:hlink>
        <a:srgbClr val="999999"/>
      </a:hlink>
      <a:folHlink>
        <a:srgbClr val="666666"/>
      </a:folHlink>
    </a:clrScheme>
    <a:fontScheme name="ASM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alpha val="70000"/>
          </a:schemeClr>
        </a:solidFill>
        <a:ln cap="sq">
          <a:solidFill>
            <a:schemeClr val="accent4"/>
          </a:solidFill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spcAft>
            <a:spcPts val="900"/>
          </a:spcAft>
          <a:defRPr sz="18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SML powerpoint template 20131205">
  <a:themeElements>
    <a:clrScheme name="ASML">
      <a:dk1>
        <a:srgbClr val="0F238C"/>
      </a:dk1>
      <a:lt1>
        <a:srgbClr val="FFFFFF"/>
      </a:lt1>
      <a:dk2>
        <a:srgbClr val="1C7DDB"/>
      </a:dk2>
      <a:lt2>
        <a:srgbClr val="86CEF4"/>
      </a:lt2>
      <a:accent1>
        <a:srgbClr val="0F238C"/>
      </a:accent1>
      <a:accent2>
        <a:srgbClr val="8E8E8E"/>
      </a:accent2>
      <a:accent3>
        <a:srgbClr val="FF7F45"/>
      </a:accent3>
      <a:accent4>
        <a:srgbClr val="34B233"/>
      </a:accent4>
      <a:accent5>
        <a:srgbClr val="FED100"/>
      </a:accent5>
      <a:accent6>
        <a:srgbClr val="1C7DDB"/>
      </a:accent6>
      <a:hlink>
        <a:srgbClr val="1C7DDB"/>
      </a:hlink>
      <a:folHlink>
        <a:srgbClr val="8E8E8E"/>
      </a:folHlink>
    </a:clrScheme>
    <a:fontScheme name="ASML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DA3A95A0A1F44F90B0D561CCBB088A" ma:contentTypeVersion="2" ma:contentTypeDescription="Create a new document." ma:contentTypeScope="" ma:versionID="aefe2396c5ae501999cdd3c626918d31">
  <xsd:schema xmlns:xsd="http://www.w3.org/2001/XMLSchema" xmlns:xs="http://www.w3.org/2001/XMLSchema" xmlns:p="http://schemas.microsoft.com/office/2006/metadata/properties" xmlns:ns2="03cc1720-9163-478f-932f-e2ce6b7ef703" xmlns:ns3="d9c1d539-4a60-4809-8c17-b24a50ede1b4" targetNamespace="http://schemas.microsoft.com/office/2006/metadata/properties" ma:root="true" ma:fieldsID="e83a006d14dcc7ef9c87df8310020122" ns2:_="" ns3:_="">
    <xsd:import namespace="03cc1720-9163-478f-932f-e2ce6b7ef703"/>
    <xsd:import namespace="d9c1d539-4a60-4809-8c17-b24a50ede1b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Course_x0020_Name"/>
                <xsd:element ref="ns3:Course_x0020_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cc1720-9163-478f-932f-e2ce6b7ef70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c1d539-4a60-4809-8c17-b24a50ede1b4" elementFormDefault="qualified">
    <xsd:import namespace="http://schemas.microsoft.com/office/2006/documentManagement/types"/>
    <xsd:import namespace="http://schemas.microsoft.com/office/infopath/2007/PartnerControls"/>
    <xsd:element name="Course_x0020_Name" ma:index="11" ma:displayName="Course Name" ma:internalName="Course_x0020_Name">
      <xsd:simpleType>
        <xsd:restriction base="dms:Text">
          <xsd:maxLength value="255"/>
        </xsd:restriction>
      </xsd:simpleType>
    </xsd:element>
    <xsd:element name="Course_x0020_Date" ma:index="12" nillable="true" ma:displayName="Course Date" ma:internalName="Course_x0020_Da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urse_x0020_Name xmlns="d9c1d539-4a60-4809-8c17-b24a50ede1b4">Role of the Architect: GL/PL Short Course</Course_x0020_Name>
    <Course_x0020_Date xmlns="d9c1d539-4a60-4809-8c17-b24a50ede1b4">2/25/2016</Course_x0020_Date>
    <_dlc_DocId xmlns="03cc1720-9163-478f-932f-e2ce6b7ef703">R6AH4K3EKJSC-2459-1</_dlc_DocId>
    <_dlc_DocIdUrl xmlns="03cc1720-9163-478f-932f-e2ce6b7ef703">
      <Url>https://my.asml.com/sectors/bf/de/TTC/_layouts/15/DocIdRedir.aspx?ID=R6AH4K3EKJSC-2459-1</Url>
      <Description>R6AH4K3EKJSC-2459-1</Description>
    </_dlc_DocIdUrl>
  </documentManagement>
</p:properties>
</file>

<file path=customXml/itemProps1.xml><?xml version="1.0" encoding="utf-8"?>
<ds:datastoreItem xmlns:ds="http://schemas.openxmlformats.org/officeDocument/2006/customXml" ds:itemID="{DD301400-9CEB-4B0E-A28C-4683FC1DC05B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1F452F7-B2F1-49FB-AAFE-DCB9BF5F05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cc1720-9163-478f-932f-e2ce6b7ef703"/>
    <ds:schemaRef ds:uri="d9c1d539-4a60-4809-8c17-b24a50ede1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CD1F1D-D6B3-4DB6-B6BC-C89D2CD3230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0450FD9-0DB4-4354-9DED-06E73F6FCBFD}">
  <ds:schemaRefs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d9c1d539-4a60-4809-8c17-b24a50ede1b4"/>
    <ds:schemaRef ds:uri="03cc1720-9163-478f-932f-e2ce6b7ef703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SML_POWERPOINT</Template>
  <TotalTime>5279</TotalTime>
  <Words>153</Words>
  <Application>Microsoft Office PowerPoint</Application>
  <PresentationFormat>On-screen Show (16:9)</PresentationFormat>
  <Paragraphs>59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MS PGothic</vt:lpstr>
      <vt:lpstr>Calibri</vt:lpstr>
      <vt:lpstr>ASML_POWERPOINT</vt:lpstr>
      <vt:lpstr>ASML powerpoint template 20131205</vt:lpstr>
      <vt:lpstr>Working our way through the V-diagram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bert van Luenen;SPE</dc:creator>
  <cp:lastModifiedBy>YL Tsai</cp:lastModifiedBy>
  <cp:revision>170</cp:revision>
  <cp:lastPrinted>2016-12-12T16:09:15Z</cp:lastPrinted>
  <dcterms:created xsi:type="dcterms:W3CDTF">2012-12-03T16:29:20Z</dcterms:created>
  <dcterms:modified xsi:type="dcterms:W3CDTF">2018-07-16T03:1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DA3A95A0A1F44F90B0D561CCBB088A</vt:lpwstr>
  </property>
  <property fmtid="{D5CDD505-2E9C-101B-9397-08002B2CF9AE}" pid="3" name="_dlc_DocIdItemGuid">
    <vt:lpwstr>1f72c904-122e-412c-bb12-7da8545148a5</vt:lpwstr>
  </property>
</Properties>
</file>